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4" r:id="rId1"/>
    <p:sldMasterId id="2147483718" r:id="rId2"/>
    <p:sldMasterId id="2147483734" r:id="rId3"/>
    <p:sldMasterId id="2147483746" r:id="rId4"/>
  </p:sldMasterIdLst>
  <p:notesMasterIdLst>
    <p:notesMasterId r:id="rId21"/>
  </p:notesMasterIdLst>
  <p:handoutMasterIdLst>
    <p:handoutMasterId r:id="rId22"/>
  </p:handoutMasterIdLst>
  <p:sldIdLst>
    <p:sldId id="566" r:id="rId5"/>
    <p:sldId id="602" r:id="rId6"/>
    <p:sldId id="596" r:id="rId7"/>
    <p:sldId id="609" r:id="rId8"/>
    <p:sldId id="604" r:id="rId9"/>
    <p:sldId id="605" r:id="rId10"/>
    <p:sldId id="607" r:id="rId11"/>
    <p:sldId id="617" r:id="rId12"/>
    <p:sldId id="619" r:id="rId13"/>
    <p:sldId id="606" r:id="rId14"/>
    <p:sldId id="611" r:id="rId15"/>
    <p:sldId id="613" r:id="rId16"/>
    <p:sldId id="584" r:id="rId17"/>
    <p:sldId id="585" r:id="rId18"/>
    <p:sldId id="610" r:id="rId19"/>
    <p:sldId id="621" r:id="rId20"/>
  </p:sldIdLst>
  <p:sldSz cx="11161713" cy="6858000"/>
  <p:notesSz cx="6858000" cy="994727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1947"/>
    <a:srgbClr val="EDF0F7"/>
    <a:srgbClr val="78D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57" autoAdjust="0"/>
    <p:restoredTop sz="98054" autoAdjust="0"/>
  </p:normalViewPr>
  <p:slideViewPr>
    <p:cSldViewPr>
      <p:cViewPr>
        <p:scale>
          <a:sx n="88" d="100"/>
          <a:sy n="88" d="100"/>
        </p:scale>
        <p:origin x="-710" y="-58"/>
      </p:cViewPr>
      <p:guideLst>
        <p:guide orient="horz" pos="2160"/>
        <p:guide pos="3516"/>
      </p:guideLst>
    </p:cSldViewPr>
  </p:slideViewPr>
  <p:outlineViewPr>
    <p:cViewPr>
      <p:scale>
        <a:sx n="33" d="100"/>
        <a:sy n="33" d="100"/>
      </p:scale>
      <p:origin x="67" y="144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3" d="100"/>
          <a:sy n="63" d="100"/>
        </p:scale>
        <p:origin x="-3221" y="-82"/>
      </p:cViewPr>
      <p:guideLst>
        <p:guide orient="horz" pos="3133"/>
        <p:guide pos="215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4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5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#6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75FE523-64C1-4506-8457-11710B8515FC}" type="doc">
      <dgm:prSet loTypeId="urn:microsoft.com/office/officeart/2005/8/layout/vList6" loCatId="list" qsTypeId="urn:microsoft.com/office/officeart/2005/8/quickstyle/simple1#4" qsCatId="simple" csTypeId="urn:microsoft.com/office/officeart/2005/8/colors/accent1_2#4" csCatId="accent1" phldr="1"/>
      <dgm:spPr/>
      <dgm:t>
        <a:bodyPr/>
        <a:lstStyle/>
        <a:p>
          <a:endParaRPr lang="ru-RU"/>
        </a:p>
      </dgm:t>
    </dgm:pt>
    <dgm:pt modelId="{838211F3-754F-4525-B57B-5A0226B02808}">
      <dgm:prSet phldrT="[Текст]" custT="1"/>
      <dgm:spPr/>
      <dgm:t>
        <a:bodyPr/>
        <a:lstStyle/>
        <a:p>
          <a:r>
            <a:rPr lang="ru-RU" sz="1600" dirty="0" smtClean="0">
              <a:latin typeface="Times New Roman" pitchFamily="18" charset="0"/>
              <a:cs typeface="Times New Roman" pitchFamily="18" charset="0"/>
            </a:rPr>
            <a:t>Формы  взаимодействия</a:t>
          </a:r>
          <a:endParaRPr lang="ru-RU" sz="1600" dirty="0">
            <a:latin typeface="Times New Roman" pitchFamily="18" charset="0"/>
            <a:cs typeface="Times New Roman" pitchFamily="18" charset="0"/>
          </a:endParaRPr>
        </a:p>
      </dgm:t>
    </dgm:pt>
    <dgm:pt modelId="{6B507782-8997-467C-8902-7EEFB641B274}" type="parTrans" cxnId="{59AAEDB4-C844-4A64-BDC4-3E6979E1A146}">
      <dgm:prSet/>
      <dgm:spPr/>
      <dgm:t>
        <a:bodyPr/>
        <a:lstStyle/>
        <a:p>
          <a:endParaRPr lang="ru-RU"/>
        </a:p>
      </dgm:t>
    </dgm:pt>
    <dgm:pt modelId="{F46A0ABD-14DB-4D60-BE0D-9D2B28E7FEF4}" type="sibTrans" cxnId="{59AAEDB4-C844-4A64-BDC4-3E6979E1A146}">
      <dgm:prSet/>
      <dgm:spPr/>
      <dgm:t>
        <a:bodyPr/>
        <a:lstStyle/>
        <a:p>
          <a:endParaRPr lang="ru-RU"/>
        </a:p>
      </dgm:t>
    </dgm:pt>
    <dgm:pt modelId="{0AD28E78-36AD-49C4-B972-31C87B64E8CF}">
      <dgm:prSet phldrT="[Текст]" custT="1"/>
      <dgm:spPr/>
      <dgm:t>
        <a:bodyPr/>
        <a:lstStyle/>
        <a:p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Соглашения о взаимодействии и сотрудничестве   (двусторонние, трехсторонние);</a:t>
          </a:r>
          <a:endParaRPr lang="ru-RU" sz="1200" b="1" dirty="0">
            <a:latin typeface="Times New Roman" pitchFamily="18" charset="0"/>
            <a:cs typeface="Times New Roman" pitchFamily="18" charset="0"/>
          </a:endParaRPr>
        </a:p>
      </dgm:t>
    </dgm:pt>
    <dgm:pt modelId="{619846C7-E69C-4DDF-BACC-6703B90C435B}" type="parTrans" cxnId="{CE51DCF5-3355-41E4-BB16-DBDEF3616336}">
      <dgm:prSet/>
      <dgm:spPr/>
      <dgm:t>
        <a:bodyPr/>
        <a:lstStyle/>
        <a:p>
          <a:endParaRPr lang="ru-RU"/>
        </a:p>
      </dgm:t>
    </dgm:pt>
    <dgm:pt modelId="{6FB758E0-F496-4AFC-B1AE-930BC580C813}" type="sibTrans" cxnId="{CE51DCF5-3355-41E4-BB16-DBDEF3616336}">
      <dgm:prSet/>
      <dgm:spPr/>
      <dgm:t>
        <a:bodyPr/>
        <a:lstStyle/>
        <a:p>
          <a:endParaRPr lang="ru-RU"/>
        </a:p>
      </dgm:t>
    </dgm:pt>
    <dgm:pt modelId="{726570C4-AD5D-4B30-8598-D58FD81B4E17}">
      <dgm:prSet phldrT="[Текст]" custT="1"/>
      <dgm:spPr/>
      <dgm:t>
        <a:bodyPr/>
        <a:lstStyle/>
        <a:p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Договоры на оказание образовательных услуг</a:t>
          </a:r>
          <a:endParaRPr lang="ru-RU" sz="1200" b="1" dirty="0">
            <a:latin typeface="Times New Roman" pitchFamily="18" charset="0"/>
            <a:cs typeface="Times New Roman" pitchFamily="18" charset="0"/>
          </a:endParaRPr>
        </a:p>
      </dgm:t>
    </dgm:pt>
    <dgm:pt modelId="{198FE157-95C3-4CF4-95A8-4FC19A722E0E}" type="parTrans" cxnId="{05E7762F-3374-43AC-8AC9-7F2765E5E1EB}">
      <dgm:prSet/>
      <dgm:spPr/>
      <dgm:t>
        <a:bodyPr/>
        <a:lstStyle/>
        <a:p>
          <a:endParaRPr lang="ru-RU"/>
        </a:p>
      </dgm:t>
    </dgm:pt>
    <dgm:pt modelId="{87399770-12CC-4C5B-A9F7-FC8C85D3522B}" type="sibTrans" cxnId="{05E7762F-3374-43AC-8AC9-7F2765E5E1EB}">
      <dgm:prSet/>
      <dgm:spPr/>
      <dgm:t>
        <a:bodyPr/>
        <a:lstStyle/>
        <a:p>
          <a:endParaRPr lang="ru-RU"/>
        </a:p>
      </dgm:t>
    </dgm:pt>
    <dgm:pt modelId="{811B293A-A90D-4E63-8F89-83518D061629}">
      <dgm:prSet phldrT="[Текст]" custT="1"/>
      <dgm:spPr/>
      <dgm:t>
        <a:bodyPr/>
        <a:lstStyle/>
        <a:p>
          <a:r>
            <a:rPr lang="ru-RU" sz="1600" dirty="0" smtClean="0">
              <a:latin typeface="Times New Roman" pitchFamily="18" charset="0"/>
              <a:cs typeface="Times New Roman" pitchFamily="18" charset="0"/>
            </a:rPr>
            <a:t>Источники финансирования</a:t>
          </a:r>
          <a:endParaRPr lang="ru-RU" sz="1600" dirty="0">
            <a:latin typeface="Times New Roman" pitchFamily="18" charset="0"/>
            <a:cs typeface="Times New Roman" pitchFamily="18" charset="0"/>
          </a:endParaRPr>
        </a:p>
      </dgm:t>
    </dgm:pt>
    <dgm:pt modelId="{F662D2A0-876E-4DB9-8D96-A890FA81C3F7}" type="parTrans" cxnId="{8309D3D6-37FD-4DD4-94C3-C313A0A5F5F2}">
      <dgm:prSet/>
      <dgm:spPr/>
      <dgm:t>
        <a:bodyPr/>
        <a:lstStyle/>
        <a:p>
          <a:endParaRPr lang="ru-RU"/>
        </a:p>
      </dgm:t>
    </dgm:pt>
    <dgm:pt modelId="{AF62515F-1F9C-4829-AC5F-005D847B349F}" type="sibTrans" cxnId="{8309D3D6-37FD-4DD4-94C3-C313A0A5F5F2}">
      <dgm:prSet/>
      <dgm:spPr/>
      <dgm:t>
        <a:bodyPr/>
        <a:lstStyle/>
        <a:p>
          <a:endParaRPr lang="ru-RU"/>
        </a:p>
      </dgm:t>
    </dgm:pt>
    <dgm:pt modelId="{696F8823-A335-4A73-87A3-9C17ABC5943F}">
      <dgm:prSet phldrT="[Текст]" custT="1"/>
      <dgm:spPr/>
      <dgm:t>
        <a:bodyPr/>
        <a:lstStyle/>
        <a:p>
          <a:r>
            <a:rPr lang="ru-RU" sz="1500" b="1" dirty="0" smtClean="0">
              <a:latin typeface="Times New Roman" pitchFamily="18" charset="0"/>
              <a:cs typeface="Times New Roman" pitchFamily="18" charset="0"/>
            </a:rPr>
            <a:t>Средства организации</a:t>
          </a:r>
          <a:endParaRPr lang="ru-RU" sz="1500" b="1" dirty="0">
            <a:latin typeface="Times New Roman" pitchFamily="18" charset="0"/>
            <a:cs typeface="Times New Roman" pitchFamily="18" charset="0"/>
          </a:endParaRPr>
        </a:p>
      </dgm:t>
    </dgm:pt>
    <dgm:pt modelId="{38FD2B1F-D9FC-4E95-9E32-672D4F2E6D44}" type="parTrans" cxnId="{D99647D6-30D1-447C-AA76-D8A8E349F77A}">
      <dgm:prSet/>
      <dgm:spPr/>
      <dgm:t>
        <a:bodyPr/>
        <a:lstStyle/>
        <a:p>
          <a:endParaRPr lang="ru-RU"/>
        </a:p>
      </dgm:t>
    </dgm:pt>
    <dgm:pt modelId="{D7212482-5334-49F0-9219-15A1D4EF983C}" type="sibTrans" cxnId="{D99647D6-30D1-447C-AA76-D8A8E349F77A}">
      <dgm:prSet/>
      <dgm:spPr/>
      <dgm:t>
        <a:bodyPr/>
        <a:lstStyle/>
        <a:p>
          <a:endParaRPr lang="ru-RU"/>
        </a:p>
      </dgm:t>
    </dgm:pt>
    <dgm:pt modelId="{EE7B93D5-597A-4F12-8876-3242F5E4F0EF}">
      <dgm:prSet phldrT="[Текст]" custT="1"/>
      <dgm:spPr/>
      <dgm:t>
        <a:bodyPr/>
        <a:lstStyle/>
        <a:p>
          <a:endParaRPr lang="ru-RU" sz="1200" b="1" dirty="0"/>
        </a:p>
      </dgm:t>
    </dgm:pt>
    <dgm:pt modelId="{8A5A8FDC-D7FD-46AA-B40D-02DC11E71C14}" type="parTrans" cxnId="{CD41A582-1B11-4FE0-BB82-32D89E1029DD}">
      <dgm:prSet/>
      <dgm:spPr/>
      <dgm:t>
        <a:bodyPr/>
        <a:lstStyle/>
        <a:p>
          <a:endParaRPr lang="ru-RU"/>
        </a:p>
      </dgm:t>
    </dgm:pt>
    <dgm:pt modelId="{4B53ECD4-5A43-4420-A2B2-CD6E86516580}" type="sibTrans" cxnId="{CD41A582-1B11-4FE0-BB82-32D89E1029DD}">
      <dgm:prSet/>
      <dgm:spPr/>
      <dgm:t>
        <a:bodyPr/>
        <a:lstStyle/>
        <a:p>
          <a:endParaRPr lang="ru-RU"/>
        </a:p>
      </dgm:t>
    </dgm:pt>
    <dgm:pt modelId="{6A7D59BE-C725-4DCB-BB60-5B074A6E5B0C}" type="pres">
      <dgm:prSet presAssocID="{C75FE523-64C1-4506-8457-11710B8515FC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C0BC68A2-2E86-45F0-8666-633A409938F9}" type="pres">
      <dgm:prSet presAssocID="{838211F3-754F-4525-B57B-5A0226B02808}" presName="linNode" presStyleCnt="0"/>
      <dgm:spPr/>
    </dgm:pt>
    <dgm:pt modelId="{BA93AF20-F1A7-4AA2-953D-4CE8A308A582}" type="pres">
      <dgm:prSet presAssocID="{838211F3-754F-4525-B57B-5A0226B02808}" presName="parentShp" presStyleLbl="node1" presStyleIdx="0" presStyleCnt="2" custScaleY="20749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8D64AF-3476-4639-A9B1-5196FF927A4A}" type="pres">
      <dgm:prSet presAssocID="{838211F3-754F-4525-B57B-5A0226B02808}" presName="childShp" presStyleLbl="bgAccFollowNode1" presStyleIdx="0" presStyleCnt="2" custScaleY="24287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E40C4F-424F-4CB3-8D6F-7A0F88EE4330}" type="pres">
      <dgm:prSet presAssocID="{F46A0ABD-14DB-4D60-BE0D-9D2B28E7FEF4}" presName="spacing" presStyleCnt="0"/>
      <dgm:spPr/>
    </dgm:pt>
    <dgm:pt modelId="{791C08D2-8A48-4AAF-AB5A-19D043DF454D}" type="pres">
      <dgm:prSet presAssocID="{811B293A-A90D-4E63-8F89-83518D061629}" presName="linNode" presStyleCnt="0"/>
      <dgm:spPr/>
    </dgm:pt>
    <dgm:pt modelId="{CDC8347A-DAE8-4F9D-AE12-466E8D5A95AB}" type="pres">
      <dgm:prSet presAssocID="{811B293A-A90D-4E63-8F89-83518D061629}" presName="parentShp" presStyleLbl="node1" presStyleIdx="1" presStyleCnt="2" custScaleX="101940" custScaleY="1561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A55C1C4-EB33-4600-A1B1-F9B75D0E7A42}" type="pres">
      <dgm:prSet presAssocID="{811B293A-A90D-4E63-8F89-83518D061629}" presName="childShp" presStyleLbl="bgAccFollowNode1" presStyleIdx="1" presStyleCnt="2" custScaleY="19189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8F9700A-3A2C-4D48-9412-FDE341EE8948}" type="presOf" srcId="{726570C4-AD5D-4B30-8598-D58FD81B4E17}" destId="{EA8D64AF-3476-4639-A9B1-5196FF927A4A}" srcOrd="0" destOrd="1" presId="urn:microsoft.com/office/officeart/2005/8/layout/vList6"/>
    <dgm:cxn modelId="{BC4A1128-8CDA-4102-A91F-FEA5BB473D8F}" type="presOf" srcId="{696F8823-A335-4A73-87A3-9C17ABC5943F}" destId="{AA55C1C4-EB33-4600-A1B1-F9B75D0E7A42}" srcOrd="0" destOrd="1" presId="urn:microsoft.com/office/officeart/2005/8/layout/vList6"/>
    <dgm:cxn modelId="{13E6A351-1A38-4C55-97F1-6523CD301896}" type="presOf" srcId="{838211F3-754F-4525-B57B-5A0226B02808}" destId="{BA93AF20-F1A7-4AA2-953D-4CE8A308A582}" srcOrd="0" destOrd="0" presId="urn:microsoft.com/office/officeart/2005/8/layout/vList6"/>
    <dgm:cxn modelId="{05E7762F-3374-43AC-8AC9-7F2765E5E1EB}" srcId="{838211F3-754F-4525-B57B-5A0226B02808}" destId="{726570C4-AD5D-4B30-8598-D58FD81B4E17}" srcOrd="1" destOrd="0" parTransId="{198FE157-95C3-4CF4-95A8-4FC19A722E0E}" sibTransId="{87399770-12CC-4C5B-A9F7-FC8C85D3522B}"/>
    <dgm:cxn modelId="{8DC5D480-95E9-4751-92F5-4E64283432C7}" type="presOf" srcId="{0AD28E78-36AD-49C4-B972-31C87B64E8CF}" destId="{EA8D64AF-3476-4639-A9B1-5196FF927A4A}" srcOrd="0" destOrd="0" presId="urn:microsoft.com/office/officeart/2005/8/layout/vList6"/>
    <dgm:cxn modelId="{D99647D6-30D1-447C-AA76-D8A8E349F77A}" srcId="{811B293A-A90D-4E63-8F89-83518D061629}" destId="{696F8823-A335-4A73-87A3-9C17ABC5943F}" srcOrd="1" destOrd="0" parTransId="{38FD2B1F-D9FC-4E95-9E32-672D4F2E6D44}" sibTransId="{D7212482-5334-49F0-9219-15A1D4EF983C}"/>
    <dgm:cxn modelId="{CD41A582-1B11-4FE0-BB82-32D89E1029DD}" srcId="{811B293A-A90D-4E63-8F89-83518D061629}" destId="{EE7B93D5-597A-4F12-8876-3242F5E4F0EF}" srcOrd="0" destOrd="0" parTransId="{8A5A8FDC-D7FD-46AA-B40D-02DC11E71C14}" sibTransId="{4B53ECD4-5A43-4420-A2B2-CD6E86516580}"/>
    <dgm:cxn modelId="{7546A2AE-3B23-462F-993B-F4CC8CCB1F28}" type="presOf" srcId="{C75FE523-64C1-4506-8457-11710B8515FC}" destId="{6A7D59BE-C725-4DCB-BB60-5B074A6E5B0C}" srcOrd="0" destOrd="0" presId="urn:microsoft.com/office/officeart/2005/8/layout/vList6"/>
    <dgm:cxn modelId="{59AAEDB4-C844-4A64-BDC4-3E6979E1A146}" srcId="{C75FE523-64C1-4506-8457-11710B8515FC}" destId="{838211F3-754F-4525-B57B-5A0226B02808}" srcOrd="0" destOrd="0" parTransId="{6B507782-8997-467C-8902-7EEFB641B274}" sibTransId="{F46A0ABD-14DB-4D60-BE0D-9D2B28E7FEF4}"/>
    <dgm:cxn modelId="{351D70CE-72E8-4BBA-85E0-8BAB8490C11B}" type="presOf" srcId="{EE7B93D5-597A-4F12-8876-3242F5E4F0EF}" destId="{AA55C1C4-EB33-4600-A1B1-F9B75D0E7A42}" srcOrd="0" destOrd="0" presId="urn:microsoft.com/office/officeart/2005/8/layout/vList6"/>
    <dgm:cxn modelId="{CE56FA6C-2A07-4FAA-A7E7-50CC2C2CD398}" type="presOf" srcId="{811B293A-A90D-4E63-8F89-83518D061629}" destId="{CDC8347A-DAE8-4F9D-AE12-466E8D5A95AB}" srcOrd="0" destOrd="0" presId="urn:microsoft.com/office/officeart/2005/8/layout/vList6"/>
    <dgm:cxn modelId="{8309D3D6-37FD-4DD4-94C3-C313A0A5F5F2}" srcId="{C75FE523-64C1-4506-8457-11710B8515FC}" destId="{811B293A-A90D-4E63-8F89-83518D061629}" srcOrd="1" destOrd="0" parTransId="{F662D2A0-876E-4DB9-8D96-A890FA81C3F7}" sibTransId="{AF62515F-1F9C-4829-AC5F-005D847B349F}"/>
    <dgm:cxn modelId="{CE51DCF5-3355-41E4-BB16-DBDEF3616336}" srcId="{838211F3-754F-4525-B57B-5A0226B02808}" destId="{0AD28E78-36AD-49C4-B972-31C87B64E8CF}" srcOrd="0" destOrd="0" parTransId="{619846C7-E69C-4DDF-BACC-6703B90C435B}" sibTransId="{6FB758E0-F496-4AFC-B1AE-930BC580C813}"/>
    <dgm:cxn modelId="{F8D517E8-C484-419C-ADFD-BBE52E62DD54}" type="presParOf" srcId="{6A7D59BE-C725-4DCB-BB60-5B074A6E5B0C}" destId="{C0BC68A2-2E86-45F0-8666-633A409938F9}" srcOrd="0" destOrd="0" presId="urn:microsoft.com/office/officeart/2005/8/layout/vList6"/>
    <dgm:cxn modelId="{3E08F52D-0188-4BDC-A226-16C64F492502}" type="presParOf" srcId="{C0BC68A2-2E86-45F0-8666-633A409938F9}" destId="{BA93AF20-F1A7-4AA2-953D-4CE8A308A582}" srcOrd="0" destOrd="0" presId="urn:microsoft.com/office/officeart/2005/8/layout/vList6"/>
    <dgm:cxn modelId="{3310980C-2D4B-418A-BE54-0EC48A895148}" type="presParOf" srcId="{C0BC68A2-2E86-45F0-8666-633A409938F9}" destId="{EA8D64AF-3476-4639-A9B1-5196FF927A4A}" srcOrd="1" destOrd="0" presId="urn:microsoft.com/office/officeart/2005/8/layout/vList6"/>
    <dgm:cxn modelId="{07974EFA-BC89-4DBF-BBBF-1560DE77155D}" type="presParOf" srcId="{6A7D59BE-C725-4DCB-BB60-5B074A6E5B0C}" destId="{18E40C4F-424F-4CB3-8D6F-7A0F88EE4330}" srcOrd="1" destOrd="0" presId="urn:microsoft.com/office/officeart/2005/8/layout/vList6"/>
    <dgm:cxn modelId="{40E92A3D-D88B-4419-8AED-D331A3F19191}" type="presParOf" srcId="{6A7D59BE-C725-4DCB-BB60-5B074A6E5B0C}" destId="{791C08D2-8A48-4AAF-AB5A-19D043DF454D}" srcOrd="2" destOrd="0" presId="urn:microsoft.com/office/officeart/2005/8/layout/vList6"/>
    <dgm:cxn modelId="{84B132C8-2BCD-4665-9138-B2BDBDCB3B4F}" type="presParOf" srcId="{791C08D2-8A48-4AAF-AB5A-19D043DF454D}" destId="{CDC8347A-DAE8-4F9D-AE12-466E8D5A95AB}" srcOrd="0" destOrd="0" presId="urn:microsoft.com/office/officeart/2005/8/layout/vList6"/>
    <dgm:cxn modelId="{6ECFA653-EBCD-4D26-B231-ECCE5B27C274}" type="presParOf" srcId="{791C08D2-8A48-4AAF-AB5A-19D043DF454D}" destId="{AA55C1C4-EB33-4600-A1B1-F9B75D0E7A42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75FE523-64C1-4506-8457-11710B8515FC}" type="doc">
      <dgm:prSet loTypeId="urn:microsoft.com/office/officeart/2005/8/layout/vList6" loCatId="list" qsTypeId="urn:microsoft.com/office/officeart/2005/8/quickstyle/simple1#5" qsCatId="simple" csTypeId="urn:microsoft.com/office/officeart/2005/8/colors/accent1_2#5" csCatId="accent1" phldr="1"/>
      <dgm:spPr/>
      <dgm:t>
        <a:bodyPr/>
        <a:lstStyle/>
        <a:p>
          <a:endParaRPr lang="ru-RU"/>
        </a:p>
      </dgm:t>
    </dgm:pt>
    <dgm:pt modelId="{838211F3-754F-4525-B57B-5A0226B02808}">
      <dgm:prSet phldrT="[Текст]" custT="1"/>
      <dgm:spPr/>
      <dgm:t>
        <a:bodyPr/>
        <a:lstStyle/>
        <a:p>
          <a:r>
            <a:rPr lang="ru-RU" sz="1600" dirty="0" smtClean="0">
              <a:latin typeface="Times New Roman" pitchFamily="18" charset="0"/>
              <a:cs typeface="Times New Roman" pitchFamily="18" charset="0"/>
            </a:rPr>
            <a:t>Формы  организации обучения</a:t>
          </a:r>
          <a:endParaRPr lang="ru-RU" sz="1600" dirty="0">
            <a:latin typeface="Times New Roman" pitchFamily="18" charset="0"/>
            <a:cs typeface="Times New Roman" pitchFamily="18" charset="0"/>
          </a:endParaRPr>
        </a:p>
      </dgm:t>
    </dgm:pt>
    <dgm:pt modelId="{6B507782-8997-467C-8902-7EEFB641B274}" type="parTrans" cxnId="{59AAEDB4-C844-4A64-BDC4-3E6979E1A146}">
      <dgm:prSet/>
      <dgm:spPr/>
      <dgm:t>
        <a:bodyPr/>
        <a:lstStyle/>
        <a:p>
          <a:endParaRPr lang="ru-RU"/>
        </a:p>
      </dgm:t>
    </dgm:pt>
    <dgm:pt modelId="{F46A0ABD-14DB-4D60-BE0D-9D2B28E7FEF4}" type="sibTrans" cxnId="{59AAEDB4-C844-4A64-BDC4-3E6979E1A146}">
      <dgm:prSet/>
      <dgm:spPr/>
      <dgm:t>
        <a:bodyPr/>
        <a:lstStyle/>
        <a:p>
          <a:endParaRPr lang="ru-RU"/>
        </a:p>
      </dgm:t>
    </dgm:pt>
    <dgm:pt modelId="{0AD28E78-36AD-49C4-B972-31C87B64E8CF}">
      <dgm:prSet phldrT="[Текст]" custT="1"/>
      <dgm:spPr/>
      <dgm:t>
        <a:bodyPr/>
        <a:lstStyle/>
        <a:p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Очная, очно-заочная </a:t>
          </a:r>
          <a:endParaRPr lang="ru-RU" sz="1400" b="1" dirty="0">
            <a:latin typeface="Times New Roman" pitchFamily="18" charset="0"/>
            <a:cs typeface="Times New Roman" pitchFamily="18" charset="0"/>
          </a:endParaRPr>
        </a:p>
      </dgm:t>
    </dgm:pt>
    <dgm:pt modelId="{619846C7-E69C-4DDF-BACC-6703B90C435B}" type="parTrans" cxnId="{CE51DCF5-3355-41E4-BB16-DBDEF3616336}">
      <dgm:prSet/>
      <dgm:spPr/>
      <dgm:t>
        <a:bodyPr/>
        <a:lstStyle/>
        <a:p>
          <a:endParaRPr lang="ru-RU"/>
        </a:p>
      </dgm:t>
    </dgm:pt>
    <dgm:pt modelId="{6FB758E0-F496-4AFC-B1AE-930BC580C813}" type="sibTrans" cxnId="{CE51DCF5-3355-41E4-BB16-DBDEF3616336}">
      <dgm:prSet/>
      <dgm:spPr/>
      <dgm:t>
        <a:bodyPr/>
        <a:lstStyle/>
        <a:p>
          <a:endParaRPr lang="ru-RU"/>
        </a:p>
      </dgm:t>
    </dgm:pt>
    <dgm:pt modelId="{811B293A-A90D-4E63-8F89-83518D061629}">
      <dgm:prSet phldrT="[Текст]" custT="1"/>
      <dgm:spPr/>
      <dgm:t>
        <a:bodyPr/>
        <a:lstStyle/>
        <a:p>
          <a:r>
            <a:rPr lang="ru-RU" sz="1600" dirty="0" smtClean="0">
              <a:latin typeface="Times New Roman" pitchFamily="18" charset="0"/>
              <a:cs typeface="Times New Roman" pitchFamily="18" charset="0"/>
            </a:rPr>
            <a:t>Место проведения занятий</a:t>
          </a:r>
          <a:endParaRPr lang="ru-RU" sz="1600" dirty="0">
            <a:latin typeface="Times New Roman" pitchFamily="18" charset="0"/>
            <a:cs typeface="Times New Roman" pitchFamily="18" charset="0"/>
          </a:endParaRPr>
        </a:p>
      </dgm:t>
    </dgm:pt>
    <dgm:pt modelId="{F662D2A0-876E-4DB9-8D96-A890FA81C3F7}" type="parTrans" cxnId="{8309D3D6-37FD-4DD4-94C3-C313A0A5F5F2}">
      <dgm:prSet/>
      <dgm:spPr/>
      <dgm:t>
        <a:bodyPr/>
        <a:lstStyle/>
        <a:p>
          <a:endParaRPr lang="ru-RU"/>
        </a:p>
      </dgm:t>
    </dgm:pt>
    <dgm:pt modelId="{AF62515F-1F9C-4829-AC5F-005D847B349F}" type="sibTrans" cxnId="{8309D3D6-37FD-4DD4-94C3-C313A0A5F5F2}">
      <dgm:prSet/>
      <dgm:spPr/>
      <dgm:t>
        <a:bodyPr/>
        <a:lstStyle/>
        <a:p>
          <a:endParaRPr lang="ru-RU"/>
        </a:p>
      </dgm:t>
    </dgm:pt>
    <dgm:pt modelId="{696F8823-A335-4A73-87A3-9C17ABC5943F}">
      <dgm:prSet phldrT="[Текст]" custT="1"/>
      <dgm:spPr/>
      <dgm:t>
        <a:bodyPr/>
        <a:lstStyle/>
        <a:p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г. Москва, г. Нововоронеж (курсы ПК)</a:t>
          </a:r>
          <a:endParaRPr lang="ru-RU" sz="1400" b="1" dirty="0">
            <a:latin typeface="Times New Roman" pitchFamily="18" charset="0"/>
            <a:cs typeface="Times New Roman" pitchFamily="18" charset="0"/>
          </a:endParaRPr>
        </a:p>
      </dgm:t>
    </dgm:pt>
    <dgm:pt modelId="{38FD2B1F-D9FC-4E95-9E32-672D4F2E6D44}" type="parTrans" cxnId="{D99647D6-30D1-447C-AA76-D8A8E349F77A}">
      <dgm:prSet/>
      <dgm:spPr/>
      <dgm:t>
        <a:bodyPr/>
        <a:lstStyle/>
        <a:p>
          <a:endParaRPr lang="ru-RU"/>
        </a:p>
      </dgm:t>
    </dgm:pt>
    <dgm:pt modelId="{D7212482-5334-49F0-9219-15A1D4EF983C}" type="sibTrans" cxnId="{D99647D6-30D1-447C-AA76-D8A8E349F77A}">
      <dgm:prSet/>
      <dgm:spPr/>
      <dgm:t>
        <a:bodyPr/>
        <a:lstStyle/>
        <a:p>
          <a:endParaRPr lang="ru-RU"/>
        </a:p>
      </dgm:t>
    </dgm:pt>
    <dgm:pt modelId="{3689730C-CDA6-4BCF-8C4C-4E894B97DDDB}">
      <dgm:prSet phldrT="[Текст]" custT="1"/>
      <dgm:spPr/>
      <dgm:t>
        <a:bodyPr/>
        <a:lstStyle/>
        <a:p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Места дислокации  организаций (специализированные курсы ПК)</a:t>
          </a:r>
          <a:endParaRPr lang="ru-RU" sz="1400" b="1" dirty="0">
            <a:latin typeface="Times New Roman" pitchFamily="18" charset="0"/>
            <a:cs typeface="Times New Roman" pitchFamily="18" charset="0"/>
          </a:endParaRPr>
        </a:p>
      </dgm:t>
    </dgm:pt>
    <dgm:pt modelId="{EA16492E-86F3-4B22-BE5F-A36F97482D1F}" type="parTrans" cxnId="{5D1A7291-F74A-4A29-A54B-120A81D1BDBC}">
      <dgm:prSet/>
      <dgm:spPr/>
      <dgm:t>
        <a:bodyPr/>
        <a:lstStyle/>
        <a:p>
          <a:endParaRPr lang="ru-RU"/>
        </a:p>
      </dgm:t>
    </dgm:pt>
    <dgm:pt modelId="{7465465E-BBEB-4783-BA18-E7791D382A66}" type="sibTrans" cxnId="{5D1A7291-F74A-4A29-A54B-120A81D1BDBC}">
      <dgm:prSet/>
      <dgm:spPr/>
      <dgm:t>
        <a:bodyPr/>
        <a:lstStyle/>
        <a:p>
          <a:endParaRPr lang="ru-RU"/>
        </a:p>
      </dgm:t>
    </dgm:pt>
    <dgm:pt modelId="{AF6D7D99-38DE-49F2-A75B-99502895DF76}">
      <dgm:prSet phldrT="[Текст]" custT="1"/>
      <dgm:spPr/>
      <dgm:t>
        <a:bodyPr/>
        <a:lstStyle/>
        <a:p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(продолжительность от 16 часов)</a:t>
          </a:r>
          <a:endParaRPr lang="ru-RU" sz="1400" b="1" dirty="0">
            <a:latin typeface="Times New Roman" pitchFamily="18" charset="0"/>
            <a:cs typeface="Times New Roman" pitchFamily="18" charset="0"/>
          </a:endParaRPr>
        </a:p>
      </dgm:t>
    </dgm:pt>
    <dgm:pt modelId="{85AE166A-37B7-44C8-BDBA-2E1D0F4DACEC}" type="parTrans" cxnId="{62669E3F-4E43-4A03-9E8E-7E0E2E59C4D7}">
      <dgm:prSet/>
      <dgm:spPr/>
      <dgm:t>
        <a:bodyPr/>
        <a:lstStyle/>
        <a:p>
          <a:endParaRPr lang="ru-RU"/>
        </a:p>
      </dgm:t>
    </dgm:pt>
    <dgm:pt modelId="{1F848E76-330E-4350-ACD7-5DEE229D1437}" type="sibTrans" cxnId="{62669E3F-4E43-4A03-9E8E-7E0E2E59C4D7}">
      <dgm:prSet/>
      <dgm:spPr/>
      <dgm:t>
        <a:bodyPr/>
        <a:lstStyle/>
        <a:p>
          <a:endParaRPr lang="ru-RU"/>
        </a:p>
      </dgm:t>
    </dgm:pt>
    <dgm:pt modelId="{6A7D59BE-C725-4DCB-BB60-5B074A6E5B0C}" type="pres">
      <dgm:prSet presAssocID="{C75FE523-64C1-4506-8457-11710B8515FC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C0BC68A2-2E86-45F0-8666-633A409938F9}" type="pres">
      <dgm:prSet presAssocID="{838211F3-754F-4525-B57B-5A0226B02808}" presName="linNode" presStyleCnt="0"/>
      <dgm:spPr/>
    </dgm:pt>
    <dgm:pt modelId="{BA93AF20-F1A7-4AA2-953D-4CE8A308A582}" type="pres">
      <dgm:prSet presAssocID="{838211F3-754F-4525-B57B-5A0226B02808}" presName="parentShp" presStyleLbl="node1" presStyleIdx="0" presStyleCnt="2" custScaleY="11577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8D64AF-3476-4639-A9B1-5196FF927A4A}" type="pres">
      <dgm:prSet presAssocID="{838211F3-754F-4525-B57B-5A0226B02808}" presName="childShp" presStyleLbl="bgAccFollowNode1" presStyleIdx="0" presStyleCnt="2" custScaleY="11180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E40C4F-424F-4CB3-8D6F-7A0F88EE4330}" type="pres">
      <dgm:prSet presAssocID="{F46A0ABD-14DB-4D60-BE0D-9D2B28E7FEF4}" presName="spacing" presStyleCnt="0"/>
      <dgm:spPr/>
    </dgm:pt>
    <dgm:pt modelId="{791C08D2-8A48-4AAF-AB5A-19D043DF454D}" type="pres">
      <dgm:prSet presAssocID="{811B293A-A90D-4E63-8F89-83518D061629}" presName="linNode" presStyleCnt="0"/>
      <dgm:spPr/>
    </dgm:pt>
    <dgm:pt modelId="{CDC8347A-DAE8-4F9D-AE12-466E8D5A95AB}" type="pres">
      <dgm:prSet presAssocID="{811B293A-A90D-4E63-8F89-83518D061629}" presName="parentShp" presStyleLbl="node1" presStyleIdx="1" presStyleCnt="2" custScaleY="138281" custLinFactNeighborX="503" custLinFactNeighborY="-1508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A55C1C4-EB33-4600-A1B1-F9B75D0E7A42}" type="pres">
      <dgm:prSet presAssocID="{811B293A-A90D-4E63-8F89-83518D061629}" presName="childShp" presStyleLbl="bgAccFollowNode1" presStyleIdx="1" presStyleCnt="2" custScaleX="99137" custScaleY="219611" custLinFactNeighborX="154" custLinFactNeighborY="-189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D1A7291-F74A-4A29-A54B-120A81D1BDBC}" srcId="{811B293A-A90D-4E63-8F89-83518D061629}" destId="{3689730C-CDA6-4BCF-8C4C-4E894B97DDDB}" srcOrd="1" destOrd="0" parTransId="{EA16492E-86F3-4B22-BE5F-A36F97482D1F}" sibTransId="{7465465E-BBEB-4783-BA18-E7791D382A66}"/>
    <dgm:cxn modelId="{D99647D6-30D1-447C-AA76-D8A8E349F77A}" srcId="{811B293A-A90D-4E63-8F89-83518D061629}" destId="{696F8823-A335-4A73-87A3-9C17ABC5943F}" srcOrd="0" destOrd="0" parTransId="{38FD2B1F-D9FC-4E95-9E32-672D4F2E6D44}" sibTransId="{D7212482-5334-49F0-9219-15A1D4EF983C}"/>
    <dgm:cxn modelId="{DCF1ABA0-ECD4-46B9-8BEF-FF008E97AD86}" type="presOf" srcId="{AF6D7D99-38DE-49F2-A75B-99502895DF76}" destId="{EA8D64AF-3476-4639-A9B1-5196FF927A4A}" srcOrd="0" destOrd="1" presId="urn:microsoft.com/office/officeart/2005/8/layout/vList6"/>
    <dgm:cxn modelId="{7E6B97A3-2D0B-42C9-91F8-896F45C27306}" type="presOf" srcId="{C75FE523-64C1-4506-8457-11710B8515FC}" destId="{6A7D59BE-C725-4DCB-BB60-5B074A6E5B0C}" srcOrd="0" destOrd="0" presId="urn:microsoft.com/office/officeart/2005/8/layout/vList6"/>
    <dgm:cxn modelId="{62669E3F-4E43-4A03-9E8E-7E0E2E59C4D7}" srcId="{838211F3-754F-4525-B57B-5A0226B02808}" destId="{AF6D7D99-38DE-49F2-A75B-99502895DF76}" srcOrd="1" destOrd="0" parTransId="{85AE166A-37B7-44C8-BDBA-2E1D0F4DACEC}" sibTransId="{1F848E76-330E-4350-ACD7-5DEE229D1437}"/>
    <dgm:cxn modelId="{59AAEDB4-C844-4A64-BDC4-3E6979E1A146}" srcId="{C75FE523-64C1-4506-8457-11710B8515FC}" destId="{838211F3-754F-4525-B57B-5A0226B02808}" srcOrd="0" destOrd="0" parTransId="{6B507782-8997-467C-8902-7EEFB641B274}" sibTransId="{F46A0ABD-14DB-4D60-BE0D-9D2B28E7FEF4}"/>
    <dgm:cxn modelId="{D0319190-CC9A-40A0-93BD-623548BA5219}" type="presOf" srcId="{838211F3-754F-4525-B57B-5A0226B02808}" destId="{BA93AF20-F1A7-4AA2-953D-4CE8A308A582}" srcOrd="0" destOrd="0" presId="urn:microsoft.com/office/officeart/2005/8/layout/vList6"/>
    <dgm:cxn modelId="{CB6DB190-2CD6-4D1B-9F64-CD0D07BC5BC0}" type="presOf" srcId="{696F8823-A335-4A73-87A3-9C17ABC5943F}" destId="{AA55C1C4-EB33-4600-A1B1-F9B75D0E7A42}" srcOrd="0" destOrd="0" presId="urn:microsoft.com/office/officeart/2005/8/layout/vList6"/>
    <dgm:cxn modelId="{EA3A9A25-7C4F-4094-9695-63062869948A}" type="presOf" srcId="{3689730C-CDA6-4BCF-8C4C-4E894B97DDDB}" destId="{AA55C1C4-EB33-4600-A1B1-F9B75D0E7A42}" srcOrd="0" destOrd="1" presId="urn:microsoft.com/office/officeart/2005/8/layout/vList6"/>
    <dgm:cxn modelId="{8309D3D6-37FD-4DD4-94C3-C313A0A5F5F2}" srcId="{C75FE523-64C1-4506-8457-11710B8515FC}" destId="{811B293A-A90D-4E63-8F89-83518D061629}" srcOrd="1" destOrd="0" parTransId="{F662D2A0-876E-4DB9-8D96-A890FA81C3F7}" sibTransId="{AF62515F-1F9C-4829-AC5F-005D847B349F}"/>
    <dgm:cxn modelId="{622DBC94-88E3-4418-BCA7-9FCEC56E76B8}" type="presOf" srcId="{811B293A-A90D-4E63-8F89-83518D061629}" destId="{CDC8347A-DAE8-4F9D-AE12-466E8D5A95AB}" srcOrd="0" destOrd="0" presId="urn:microsoft.com/office/officeart/2005/8/layout/vList6"/>
    <dgm:cxn modelId="{CE51DCF5-3355-41E4-BB16-DBDEF3616336}" srcId="{838211F3-754F-4525-B57B-5A0226B02808}" destId="{0AD28E78-36AD-49C4-B972-31C87B64E8CF}" srcOrd="0" destOrd="0" parTransId="{619846C7-E69C-4DDF-BACC-6703B90C435B}" sibTransId="{6FB758E0-F496-4AFC-B1AE-930BC580C813}"/>
    <dgm:cxn modelId="{B8A3880C-6FB8-4BBA-9504-23D16C6B756A}" type="presOf" srcId="{0AD28E78-36AD-49C4-B972-31C87B64E8CF}" destId="{EA8D64AF-3476-4639-A9B1-5196FF927A4A}" srcOrd="0" destOrd="0" presId="urn:microsoft.com/office/officeart/2005/8/layout/vList6"/>
    <dgm:cxn modelId="{64B7AC36-77BE-4F66-86DF-F10B4662F3E6}" type="presParOf" srcId="{6A7D59BE-C725-4DCB-BB60-5B074A6E5B0C}" destId="{C0BC68A2-2E86-45F0-8666-633A409938F9}" srcOrd="0" destOrd="0" presId="urn:microsoft.com/office/officeart/2005/8/layout/vList6"/>
    <dgm:cxn modelId="{2D03301A-62A3-4D68-9BBD-178D8443B19B}" type="presParOf" srcId="{C0BC68A2-2E86-45F0-8666-633A409938F9}" destId="{BA93AF20-F1A7-4AA2-953D-4CE8A308A582}" srcOrd="0" destOrd="0" presId="urn:microsoft.com/office/officeart/2005/8/layout/vList6"/>
    <dgm:cxn modelId="{60CFCF80-F48D-4CEB-B15F-EC1009793D3C}" type="presParOf" srcId="{C0BC68A2-2E86-45F0-8666-633A409938F9}" destId="{EA8D64AF-3476-4639-A9B1-5196FF927A4A}" srcOrd="1" destOrd="0" presId="urn:microsoft.com/office/officeart/2005/8/layout/vList6"/>
    <dgm:cxn modelId="{538F0575-CE9F-48C1-87B3-7A4D98B4A8A1}" type="presParOf" srcId="{6A7D59BE-C725-4DCB-BB60-5B074A6E5B0C}" destId="{18E40C4F-424F-4CB3-8D6F-7A0F88EE4330}" srcOrd="1" destOrd="0" presId="urn:microsoft.com/office/officeart/2005/8/layout/vList6"/>
    <dgm:cxn modelId="{811E07B0-AB29-4780-AD2C-717DCBB9022F}" type="presParOf" srcId="{6A7D59BE-C725-4DCB-BB60-5B074A6E5B0C}" destId="{791C08D2-8A48-4AAF-AB5A-19D043DF454D}" srcOrd="2" destOrd="0" presId="urn:microsoft.com/office/officeart/2005/8/layout/vList6"/>
    <dgm:cxn modelId="{64D282B3-5675-47F2-AD90-A92F28B76278}" type="presParOf" srcId="{791C08D2-8A48-4AAF-AB5A-19D043DF454D}" destId="{CDC8347A-DAE8-4F9D-AE12-466E8D5A95AB}" srcOrd="0" destOrd="0" presId="urn:microsoft.com/office/officeart/2005/8/layout/vList6"/>
    <dgm:cxn modelId="{21E77F43-2BEE-4A36-B281-B42D6663E250}" type="presParOf" srcId="{791C08D2-8A48-4AAF-AB5A-19D043DF454D}" destId="{AA55C1C4-EB33-4600-A1B1-F9B75D0E7A42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7CA51D4-465F-4F7A-AD22-2DEBD4EA2EC1}" type="doc">
      <dgm:prSet loTypeId="urn:microsoft.com/office/officeart/2005/8/layout/chevron2" loCatId="list" qsTypeId="urn:microsoft.com/office/officeart/2005/8/quickstyle/simple1#6" qsCatId="simple" csTypeId="urn:microsoft.com/office/officeart/2005/8/colors/accent1_2#6" csCatId="accent1" phldr="1"/>
      <dgm:spPr/>
      <dgm:t>
        <a:bodyPr/>
        <a:lstStyle/>
        <a:p>
          <a:endParaRPr lang="ru-RU"/>
        </a:p>
      </dgm:t>
    </dgm:pt>
    <dgm:pt modelId="{F3732164-5C4B-4FAB-9DCB-9B3906713856}">
      <dgm:prSet phldrT="[Текст]" custT="1"/>
      <dgm:spPr>
        <a:solidFill>
          <a:srgbClr val="002060"/>
        </a:solidFill>
        <a:ln>
          <a:solidFill>
            <a:schemeClr val="tx1"/>
          </a:solidFill>
        </a:ln>
      </dgm:spPr>
      <dgm:t>
        <a:bodyPr/>
        <a:lstStyle/>
        <a:p>
          <a:r>
            <a:rPr lang="ru-RU" sz="1600" b="1" dirty="0" smtClean="0">
              <a:latin typeface="+mn-lt"/>
              <a:cs typeface="Arial" panose="020B0604020202020204" pitchFamily="34" charset="0"/>
            </a:rPr>
            <a:t>1</a:t>
          </a:r>
          <a:endParaRPr lang="ru-RU" sz="1600" b="1" dirty="0">
            <a:latin typeface="+mn-lt"/>
            <a:cs typeface="Arial" panose="020B0604020202020204" pitchFamily="34" charset="0"/>
          </a:endParaRPr>
        </a:p>
      </dgm:t>
    </dgm:pt>
    <dgm:pt modelId="{270DB5FD-8D28-4320-AE5A-A1AD7C587B60}" type="parTrans" cxnId="{2138887E-28AD-4A6A-BF19-6542DD84A2FA}">
      <dgm:prSet/>
      <dgm:spPr/>
      <dgm:t>
        <a:bodyPr/>
        <a:lstStyle/>
        <a:p>
          <a:endParaRPr lang="ru-RU" sz="1600" b="1">
            <a:latin typeface="+mn-lt"/>
            <a:cs typeface="Arial" panose="020B0604020202020204" pitchFamily="34" charset="0"/>
          </a:endParaRPr>
        </a:p>
      </dgm:t>
    </dgm:pt>
    <dgm:pt modelId="{5A05B751-E4D0-4F1F-B57A-FCEE3B8D77FE}" type="sibTrans" cxnId="{2138887E-28AD-4A6A-BF19-6542DD84A2FA}">
      <dgm:prSet/>
      <dgm:spPr/>
      <dgm:t>
        <a:bodyPr/>
        <a:lstStyle/>
        <a:p>
          <a:endParaRPr lang="ru-RU" sz="1600" b="1">
            <a:latin typeface="+mn-lt"/>
            <a:cs typeface="Arial" panose="020B0604020202020204" pitchFamily="34" charset="0"/>
          </a:endParaRPr>
        </a:p>
      </dgm:t>
    </dgm:pt>
    <dgm:pt modelId="{492BA6B9-F35F-4749-8364-0F1CDA1A9A40}">
      <dgm:prSet phldrT="[Текст]" custT="1"/>
      <dgm:spPr>
        <a:ln>
          <a:solidFill>
            <a:schemeClr val="tx1"/>
          </a:solidFill>
        </a:ln>
      </dgm:spPr>
      <dgm:t>
        <a:bodyPr/>
        <a:lstStyle/>
        <a:p>
          <a:r>
            <a:rPr lang="ru-RU" sz="1600" b="1" dirty="0" smtClean="0">
              <a:latin typeface="+mn-lt"/>
            </a:rPr>
            <a:t>Подготовка перечня профессий, специальностей, квалификаций, требующих разработки Профессиональных Стандартов  и внесения изменений в действующие ПС, отражающие специфику ЯРБ при сооружении ОИАЭ</a:t>
          </a:r>
          <a:endParaRPr lang="ru-RU" sz="1600" b="1" dirty="0">
            <a:latin typeface="+mn-lt"/>
            <a:cs typeface="Arial" panose="020B0604020202020204" pitchFamily="34" charset="0"/>
          </a:endParaRPr>
        </a:p>
      </dgm:t>
    </dgm:pt>
    <dgm:pt modelId="{B2B7C3A0-57E0-4406-800A-DCFA421AA59F}" type="parTrans" cxnId="{20FAFCD2-92C7-4170-833E-5D6010184A91}">
      <dgm:prSet/>
      <dgm:spPr/>
      <dgm:t>
        <a:bodyPr/>
        <a:lstStyle/>
        <a:p>
          <a:endParaRPr lang="ru-RU" sz="1600" b="1">
            <a:latin typeface="+mn-lt"/>
            <a:cs typeface="Arial" panose="020B0604020202020204" pitchFamily="34" charset="0"/>
          </a:endParaRPr>
        </a:p>
      </dgm:t>
    </dgm:pt>
    <dgm:pt modelId="{F1CB70A7-7B8D-477D-AEA1-DA3BE8B3B437}" type="sibTrans" cxnId="{20FAFCD2-92C7-4170-833E-5D6010184A91}">
      <dgm:prSet/>
      <dgm:spPr/>
      <dgm:t>
        <a:bodyPr/>
        <a:lstStyle/>
        <a:p>
          <a:endParaRPr lang="ru-RU" sz="1600" b="1">
            <a:latin typeface="+mn-lt"/>
            <a:cs typeface="Arial" panose="020B0604020202020204" pitchFamily="34" charset="0"/>
          </a:endParaRPr>
        </a:p>
      </dgm:t>
    </dgm:pt>
    <dgm:pt modelId="{06584DDA-2CF5-4204-8685-9B21ACBC40C6}">
      <dgm:prSet phldrT="[Текст]" custT="1"/>
      <dgm:spPr>
        <a:solidFill>
          <a:srgbClr val="002060"/>
        </a:solidFill>
        <a:ln>
          <a:solidFill>
            <a:schemeClr val="tx1"/>
          </a:solidFill>
        </a:ln>
      </dgm:spPr>
      <dgm:t>
        <a:bodyPr/>
        <a:lstStyle/>
        <a:p>
          <a:r>
            <a:rPr lang="ru-RU" sz="1600" b="1" dirty="0" smtClean="0">
              <a:latin typeface="+mn-lt"/>
              <a:cs typeface="Arial" panose="020B0604020202020204" pitchFamily="34" charset="0"/>
            </a:rPr>
            <a:t>2</a:t>
          </a:r>
          <a:endParaRPr lang="ru-RU" sz="1600" b="1" dirty="0">
            <a:latin typeface="+mn-lt"/>
            <a:cs typeface="Arial" panose="020B0604020202020204" pitchFamily="34" charset="0"/>
          </a:endParaRPr>
        </a:p>
      </dgm:t>
    </dgm:pt>
    <dgm:pt modelId="{3D2964E1-D752-4EBD-8289-FB2A2ED1529E}" type="parTrans" cxnId="{DE11C0B4-E87B-478E-B1D7-353A96E4730D}">
      <dgm:prSet/>
      <dgm:spPr/>
      <dgm:t>
        <a:bodyPr/>
        <a:lstStyle/>
        <a:p>
          <a:endParaRPr lang="ru-RU" sz="1600" b="1">
            <a:latin typeface="+mn-lt"/>
            <a:cs typeface="Arial" panose="020B0604020202020204" pitchFamily="34" charset="0"/>
          </a:endParaRPr>
        </a:p>
      </dgm:t>
    </dgm:pt>
    <dgm:pt modelId="{11955AD0-B1EC-4BE5-BA1E-E79A6A6A59FA}" type="sibTrans" cxnId="{DE11C0B4-E87B-478E-B1D7-353A96E4730D}">
      <dgm:prSet/>
      <dgm:spPr/>
      <dgm:t>
        <a:bodyPr/>
        <a:lstStyle/>
        <a:p>
          <a:endParaRPr lang="ru-RU" sz="1600" b="1">
            <a:latin typeface="+mn-lt"/>
            <a:cs typeface="Arial" panose="020B0604020202020204" pitchFamily="34" charset="0"/>
          </a:endParaRPr>
        </a:p>
      </dgm:t>
    </dgm:pt>
    <dgm:pt modelId="{DF634C0D-500D-4CED-A454-C4BDF7BCAB71}">
      <dgm:prSet phldrT="[Текст]" custT="1"/>
      <dgm:spPr>
        <a:ln>
          <a:solidFill>
            <a:schemeClr val="tx1"/>
          </a:solidFill>
        </a:ln>
      </dgm:spPr>
      <dgm:t>
        <a:bodyPr/>
        <a:lstStyle/>
        <a:p>
          <a:r>
            <a:rPr lang="ru-RU" sz="1600" b="1" dirty="0" smtClean="0">
              <a:latin typeface="+mn-lt"/>
            </a:rPr>
            <a:t>Формирование, на основе перечня профессий, программы разработки ПС и внесения изменений в действующие ПС, отражающие специфику ЯРБ  при сооружения ОИАЭ</a:t>
          </a:r>
          <a:endParaRPr lang="ru-RU" sz="1600" b="1" dirty="0">
            <a:latin typeface="+mn-lt"/>
            <a:cs typeface="Arial" panose="020B0604020202020204" pitchFamily="34" charset="0"/>
          </a:endParaRPr>
        </a:p>
      </dgm:t>
    </dgm:pt>
    <dgm:pt modelId="{6FE97C28-1E99-4214-BDE8-6866066D14FD}" type="parTrans" cxnId="{8C7FD23C-2497-42EC-9C03-691F1D6455E5}">
      <dgm:prSet/>
      <dgm:spPr/>
      <dgm:t>
        <a:bodyPr/>
        <a:lstStyle/>
        <a:p>
          <a:endParaRPr lang="ru-RU" sz="1600" b="1">
            <a:latin typeface="+mn-lt"/>
            <a:cs typeface="Arial" panose="020B0604020202020204" pitchFamily="34" charset="0"/>
          </a:endParaRPr>
        </a:p>
      </dgm:t>
    </dgm:pt>
    <dgm:pt modelId="{7D20CEB6-D7DB-415D-B922-F3B15A3FD939}" type="sibTrans" cxnId="{8C7FD23C-2497-42EC-9C03-691F1D6455E5}">
      <dgm:prSet/>
      <dgm:spPr/>
      <dgm:t>
        <a:bodyPr/>
        <a:lstStyle/>
        <a:p>
          <a:endParaRPr lang="ru-RU" sz="1600" b="1">
            <a:latin typeface="+mn-lt"/>
            <a:cs typeface="Arial" panose="020B0604020202020204" pitchFamily="34" charset="0"/>
          </a:endParaRPr>
        </a:p>
      </dgm:t>
    </dgm:pt>
    <dgm:pt modelId="{F49650C7-25BB-4895-9171-E167187D96BA}">
      <dgm:prSet phldrT="[Текст]" custT="1"/>
      <dgm:spPr>
        <a:solidFill>
          <a:srgbClr val="002060"/>
        </a:solidFill>
        <a:ln>
          <a:solidFill>
            <a:schemeClr val="tx1"/>
          </a:solidFill>
        </a:ln>
      </dgm:spPr>
      <dgm:t>
        <a:bodyPr/>
        <a:lstStyle/>
        <a:p>
          <a:r>
            <a:rPr lang="ru-RU" sz="1600" b="1" dirty="0" smtClean="0">
              <a:latin typeface="+mn-lt"/>
              <a:cs typeface="Arial" panose="020B0604020202020204" pitchFamily="34" charset="0"/>
            </a:rPr>
            <a:t>3</a:t>
          </a:r>
          <a:endParaRPr lang="ru-RU" sz="1600" b="1" dirty="0">
            <a:latin typeface="+mn-lt"/>
            <a:cs typeface="Arial" panose="020B0604020202020204" pitchFamily="34" charset="0"/>
          </a:endParaRPr>
        </a:p>
      </dgm:t>
    </dgm:pt>
    <dgm:pt modelId="{9051F73A-C7D5-4CF0-9CFF-51A88308D725}" type="parTrans" cxnId="{9250BB84-A3C3-4E56-BDD0-4D57BA678C5C}">
      <dgm:prSet/>
      <dgm:spPr/>
      <dgm:t>
        <a:bodyPr/>
        <a:lstStyle/>
        <a:p>
          <a:endParaRPr lang="ru-RU" sz="1600" b="1">
            <a:latin typeface="+mn-lt"/>
            <a:cs typeface="Arial" panose="020B0604020202020204" pitchFamily="34" charset="0"/>
          </a:endParaRPr>
        </a:p>
      </dgm:t>
    </dgm:pt>
    <dgm:pt modelId="{2855286A-57B5-446D-9659-15EB0475D7CB}" type="sibTrans" cxnId="{9250BB84-A3C3-4E56-BDD0-4D57BA678C5C}">
      <dgm:prSet/>
      <dgm:spPr/>
      <dgm:t>
        <a:bodyPr/>
        <a:lstStyle/>
        <a:p>
          <a:endParaRPr lang="ru-RU" sz="1600" b="1">
            <a:latin typeface="+mn-lt"/>
            <a:cs typeface="Arial" panose="020B0604020202020204" pitchFamily="34" charset="0"/>
          </a:endParaRPr>
        </a:p>
      </dgm:t>
    </dgm:pt>
    <dgm:pt modelId="{C90A8CC9-ADD8-4E7A-8068-1693683E5D43}">
      <dgm:prSet phldrT="[Текст]" custT="1"/>
      <dgm:spPr>
        <a:ln>
          <a:solidFill>
            <a:schemeClr val="tx1"/>
          </a:solidFill>
        </a:ln>
      </dgm:spPr>
      <dgm:t>
        <a:bodyPr/>
        <a:lstStyle/>
        <a:p>
          <a:r>
            <a:rPr lang="ru-RU" sz="1600" b="1" dirty="0" smtClean="0">
              <a:effectLst/>
              <a:latin typeface="+mn-lt"/>
              <a:ea typeface="Calibri" panose="020F0502020204030204" pitchFamily="34" charset="0"/>
              <a:cs typeface="Arial" panose="020B0604020202020204" pitchFamily="34" charset="0"/>
            </a:rPr>
            <a:t>Профессионально-общественная аккредитация образовательных программ повышения квалификации и программ профессиональной подготовки профессий и специальностей направления </a:t>
          </a:r>
          <a:r>
            <a:rPr lang="ru-RU" sz="1600" b="1" dirty="0" smtClean="0">
              <a:latin typeface="+mn-lt"/>
            </a:rPr>
            <a:t>ЯРБ</a:t>
          </a:r>
          <a:endParaRPr lang="ru-RU" sz="1600" b="1" dirty="0">
            <a:latin typeface="+mn-lt"/>
            <a:cs typeface="Arial" panose="020B0604020202020204" pitchFamily="34" charset="0"/>
          </a:endParaRPr>
        </a:p>
      </dgm:t>
    </dgm:pt>
    <dgm:pt modelId="{C3EDBFEE-632C-4E87-9ED2-E4170E61DDC0}" type="parTrans" cxnId="{75F14208-2E97-4C2F-85C7-4D7EA46B350D}">
      <dgm:prSet/>
      <dgm:spPr/>
      <dgm:t>
        <a:bodyPr/>
        <a:lstStyle/>
        <a:p>
          <a:endParaRPr lang="ru-RU" sz="1600" b="1">
            <a:latin typeface="+mn-lt"/>
            <a:cs typeface="Arial" panose="020B0604020202020204" pitchFamily="34" charset="0"/>
          </a:endParaRPr>
        </a:p>
      </dgm:t>
    </dgm:pt>
    <dgm:pt modelId="{6D942C8D-CC90-440F-B940-F47015D84FA2}" type="sibTrans" cxnId="{75F14208-2E97-4C2F-85C7-4D7EA46B350D}">
      <dgm:prSet/>
      <dgm:spPr/>
      <dgm:t>
        <a:bodyPr/>
        <a:lstStyle/>
        <a:p>
          <a:endParaRPr lang="ru-RU" sz="1600" b="1">
            <a:latin typeface="+mn-lt"/>
            <a:cs typeface="Arial" panose="020B0604020202020204" pitchFamily="34" charset="0"/>
          </a:endParaRPr>
        </a:p>
      </dgm:t>
    </dgm:pt>
    <dgm:pt modelId="{B5D36304-7CBA-4A07-9530-EC015DF5D6C3}">
      <dgm:prSet custT="1"/>
      <dgm:spPr>
        <a:solidFill>
          <a:srgbClr val="000066"/>
        </a:solidFill>
        <a:ln>
          <a:solidFill>
            <a:schemeClr val="tx1"/>
          </a:solidFill>
        </a:ln>
      </dgm:spPr>
      <dgm:t>
        <a:bodyPr/>
        <a:lstStyle/>
        <a:p>
          <a:r>
            <a:rPr lang="ru-RU" sz="1600" b="1" smtClean="0">
              <a:latin typeface="+mn-lt"/>
            </a:rPr>
            <a:t>4</a:t>
          </a:r>
          <a:endParaRPr lang="ru-RU" sz="1600" b="1" dirty="0">
            <a:latin typeface="+mn-lt"/>
          </a:endParaRPr>
        </a:p>
      </dgm:t>
    </dgm:pt>
    <dgm:pt modelId="{DFF70252-2631-4876-9DC2-83CDCBC48BAC}" type="parTrans" cxnId="{F94B7003-5928-4868-B7E2-A26518BEB144}">
      <dgm:prSet/>
      <dgm:spPr/>
      <dgm:t>
        <a:bodyPr/>
        <a:lstStyle/>
        <a:p>
          <a:endParaRPr lang="ru-RU" sz="1600" b="1">
            <a:latin typeface="+mn-lt"/>
          </a:endParaRPr>
        </a:p>
      </dgm:t>
    </dgm:pt>
    <dgm:pt modelId="{DA2C50A8-1CCC-444D-9D69-EAF1CFF073A2}" type="sibTrans" cxnId="{F94B7003-5928-4868-B7E2-A26518BEB144}">
      <dgm:prSet/>
      <dgm:spPr/>
      <dgm:t>
        <a:bodyPr/>
        <a:lstStyle/>
        <a:p>
          <a:endParaRPr lang="ru-RU" sz="1600" b="1">
            <a:latin typeface="+mn-lt"/>
          </a:endParaRPr>
        </a:p>
      </dgm:t>
    </dgm:pt>
    <dgm:pt modelId="{FBF64EDC-5275-464C-800B-DE9F4AFE4C23}">
      <dgm:prSet custT="1"/>
      <dgm:spPr/>
      <dgm:t>
        <a:bodyPr/>
        <a:lstStyle/>
        <a:p>
          <a:r>
            <a:rPr lang="ru-RU" sz="1600" b="1" dirty="0" smtClean="0">
              <a:latin typeface="+mn-lt"/>
            </a:rPr>
            <a:t>Формирование программы переработки образовательных программ в соответствии с требованиями Профессиональных Стандартов  </a:t>
          </a:r>
          <a:endParaRPr lang="ru-RU" sz="1600" b="1" dirty="0">
            <a:latin typeface="+mn-lt"/>
          </a:endParaRPr>
        </a:p>
      </dgm:t>
    </dgm:pt>
    <dgm:pt modelId="{387EFA71-E91E-4227-B27D-0C9A51BA93A4}" type="parTrans" cxnId="{267A0CF1-6DEB-4C9F-9AA0-193DD14F2248}">
      <dgm:prSet/>
      <dgm:spPr/>
      <dgm:t>
        <a:bodyPr/>
        <a:lstStyle/>
        <a:p>
          <a:endParaRPr lang="ru-RU" sz="1600" b="1">
            <a:latin typeface="+mn-lt"/>
          </a:endParaRPr>
        </a:p>
      </dgm:t>
    </dgm:pt>
    <dgm:pt modelId="{6AD4C968-45A8-48B7-831D-E610BFCA7BF3}" type="sibTrans" cxnId="{267A0CF1-6DEB-4C9F-9AA0-193DD14F2248}">
      <dgm:prSet/>
      <dgm:spPr/>
      <dgm:t>
        <a:bodyPr/>
        <a:lstStyle/>
        <a:p>
          <a:endParaRPr lang="ru-RU" sz="1600" b="1">
            <a:latin typeface="+mn-lt"/>
          </a:endParaRPr>
        </a:p>
      </dgm:t>
    </dgm:pt>
    <dgm:pt modelId="{7453849F-C955-4245-A5CB-1C1CB84C7FBF}" type="pres">
      <dgm:prSet presAssocID="{27CA51D4-465F-4F7A-AD22-2DEBD4EA2EC1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231E4E3-88F0-4A44-91A8-6D496F93623C}" type="pres">
      <dgm:prSet presAssocID="{F3732164-5C4B-4FAB-9DCB-9B3906713856}" presName="composite" presStyleCnt="0"/>
      <dgm:spPr/>
    </dgm:pt>
    <dgm:pt modelId="{560290B6-6B83-4DE4-A89E-5CD3CB687AB9}" type="pres">
      <dgm:prSet presAssocID="{F3732164-5C4B-4FAB-9DCB-9B3906713856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842844-2E50-483D-A5A2-E97785C60DC6}" type="pres">
      <dgm:prSet presAssocID="{F3732164-5C4B-4FAB-9DCB-9B3906713856}" presName="descendantText" presStyleLbl="alignAcc1" presStyleIdx="0" presStyleCnt="4" custScaleX="100227" custScaleY="137245" custLinFactNeighborX="-228" custLinFactNeighborY="-1869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DF011F1-204D-43E3-AC41-D3D87DDB8B7C}" type="pres">
      <dgm:prSet presAssocID="{5A05B751-E4D0-4F1F-B57A-FCEE3B8D77FE}" presName="sp" presStyleCnt="0"/>
      <dgm:spPr/>
    </dgm:pt>
    <dgm:pt modelId="{7808D10E-FECF-4D7C-897A-0B57914051C5}" type="pres">
      <dgm:prSet presAssocID="{06584DDA-2CF5-4204-8685-9B21ACBC40C6}" presName="composite" presStyleCnt="0"/>
      <dgm:spPr/>
    </dgm:pt>
    <dgm:pt modelId="{68E1EA8D-B99A-4E0F-9DCB-8D07706F38F6}" type="pres">
      <dgm:prSet presAssocID="{06584DDA-2CF5-4204-8685-9B21ACBC40C6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9A388CF-2E91-4392-AEA0-05BE04FF36A1}" type="pres">
      <dgm:prSet presAssocID="{06584DDA-2CF5-4204-8685-9B21ACBC40C6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6B4D19-898E-42AC-A21D-393E52CC9AC6}" type="pres">
      <dgm:prSet presAssocID="{11955AD0-B1EC-4BE5-BA1E-E79A6A6A59FA}" presName="sp" presStyleCnt="0"/>
      <dgm:spPr/>
    </dgm:pt>
    <dgm:pt modelId="{A0A0FED7-8ECB-42F2-AD3C-F7AFA10E5483}" type="pres">
      <dgm:prSet presAssocID="{F49650C7-25BB-4895-9171-E167187D96BA}" presName="composite" presStyleCnt="0"/>
      <dgm:spPr/>
    </dgm:pt>
    <dgm:pt modelId="{7C36CB5A-38E3-42D4-8FE8-569DD73B728E}" type="pres">
      <dgm:prSet presAssocID="{F49650C7-25BB-4895-9171-E167187D96BA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C8F7837-1E3A-4905-8608-36809E0B2A79}" type="pres">
      <dgm:prSet presAssocID="{F49650C7-25BB-4895-9171-E167187D96BA}" presName="descendantText" presStyleLbl="alignAcc1" presStyleIdx="2" presStyleCnt="4" custScaleY="14222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409694-C2FA-4515-8AB5-61C5F31B8F09}" type="pres">
      <dgm:prSet presAssocID="{2855286A-57B5-446D-9659-15EB0475D7CB}" presName="sp" presStyleCnt="0"/>
      <dgm:spPr/>
    </dgm:pt>
    <dgm:pt modelId="{85D2022B-DA2F-4A8C-8702-EBBB37B95911}" type="pres">
      <dgm:prSet presAssocID="{B5D36304-7CBA-4A07-9530-EC015DF5D6C3}" presName="composite" presStyleCnt="0"/>
      <dgm:spPr/>
    </dgm:pt>
    <dgm:pt modelId="{DA9F3015-97AA-46AF-93F1-DEF07767DC11}" type="pres">
      <dgm:prSet presAssocID="{B5D36304-7CBA-4A07-9530-EC015DF5D6C3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472EBF5-9277-4122-BEB8-D535F643C253}" type="pres">
      <dgm:prSet presAssocID="{B5D36304-7CBA-4A07-9530-EC015DF5D6C3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8C54FF4-0C84-4A52-848D-876BDD81120B}" type="presOf" srcId="{F3732164-5C4B-4FAB-9DCB-9B3906713856}" destId="{560290B6-6B83-4DE4-A89E-5CD3CB687AB9}" srcOrd="0" destOrd="0" presId="urn:microsoft.com/office/officeart/2005/8/layout/chevron2"/>
    <dgm:cxn modelId="{B06341CC-96E0-492E-89AB-6910B8CE1AA9}" type="presOf" srcId="{C90A8CC9-ADD8-4E7A-8068-1693683E5D43}" destId="{8C8F7837-1E3A-4905-8608-36809E0B2A79}" srcOrd="0" destOrd="0" presId="urn:microsoft.com/office/officeart/2005/8/layout/chevron2"/>
    <dgm:cxn modelId="{F7A90BFF-8FAD-4699-901E-796DB9585850}" type="presOf" srcId="{DF634C0D-500D-4CED-A454-C4BDF7BCAB71}" destId="{C9A388CF-2E91-4392-AEA0-05BE04FF36A1}" srcOrd="0" destOrd="0" presId="urn:microsoft.com/office/officeart/2005/8/layout/chevron2"/>
    <dgm:cxn modelId="{267A0CF1-6DEB-4C9F-9AA0-193DD14F2248}" srcId="{B5D36304-7CBA-4A07-9530-EC015DF5D6C3}" destId="{FBF64EDC-5275-464C-800B-DE9F4AFE4C23}" srcOrd="0" destOrd="0" parTransId="{387EFA71-E91E-4227-B27D-0C9A51BA93A4}" sibTransId="{6AD4C968-45A8-48B7-831D-E610BFCA7BF3}"/>
    <dgm:cxn modelId="{8C7FD23C-2497-42EC-9C03-691F1D6455E5}" srcId="{06584DDA-2CF5-4204-8685-9B21ACBC40C6}" destId="{DF634C0D-500D-4CED-A454-C4BDF7BCAB71}" srcOrd="0" destOrd="0" parTransId="{6FE97C28-1E99-4214-BDE8-6866066D14FD}" sibTransId="{7D20CEB6-D7DB-415D-B922-F3B15A3FD939}"/>
    <dgm:cxn modelId="{20FAFCD2-92C7-4170-833E-5D6010184A91}" srcId="{F3732164-5C4B-4FAB-9DCB-9B3906713856}" destId="{492BA6B9-F35F-4749-8364-0F1CDA1A9A40}" srcOrd="0" destOrd="0" parTransId="{B2B7C3A0-57E0-4406-800A-DCFA421AA59F}" sibTransId="{F1CB70A7-7B8D-477D-AEA1-DA3BE8B3B437}"/>
    <dgm:cxn modelId="{F94B7003-5928-4868-B7E2-A26518BEB144}" srcId="{27CA51D4-465F-4F7A-AD22-2DEBD4EA2EC1}" destId="{B5D36304-7CBA-4A07-9530-EC015DF5D6C3}" srcOrd="3" destOrd="0" parTransId="{DFF70252-2631-4876-9DC2-83CDCBC48BAC}" sibTransId="{DA2C50A8-1CCC-444D-9D69-EAF1CFF073A2}"/>
    <dgm:cxn modelId="{DE11C0B4-E87B-478E-B1D7-353A96E4730D}" srcId="{27CA51D4-465F-4F7A-AD22-2DEBD4EA2EC1}" destId="{06584DDA-2CF5-4204-8685-9B21ACBC40C6}" srcOrd="1" destOrd="0" parTransId="{3D2964E1-D752-4EBD-8289-FB2A2ED1529E}" sibTransId="{11955AD0-B1EC-4BE5-BA1E-E79A6A6A59FA}"/>
    <dgm:cxn modelId="{1CD6A7CB-EB49-4449-A845-46D4F409102C}" type="presOf" srcId="{06584DDA-2CF5-4204-8685-9B21ACBC40C6}" destId="{68E1EA8D-B99A-4E0F-9DCB-8D07706F38F6}" srcOrd="0" destOrd="0" presId="urn:microsoft.com/office/officeart/2005/8/layout/chevron2"/>
    <dgm:cxn modelId="{9250BB84-A3C3-4E56-BDD0-4D57BA678C5C}" srcId="{27CA51D4-465F-4F7A-AD22-2DEBD4EA2EC1}" destId="{F49650C7-25BB-4895-9171-E167187D96BA}" srcOrd="2" destOrd="0" parTransId="{9051F73A-C7D5-4CF0-9CFF-51A88308D725}" sibTransId="{2855286A-57B5-446D-9659-15EB0475D7CB}"/>
    <dgm:cxn modelId="{624121E7-7903-49C4-A096-D02C31866068}" type="presOf" srcId="{27CA51D4-465F-4F7A-AD22-2DEBD4EA2EC1}" destId="{7453849F-C955-4245-A5CB-1C1CB84C7FBF}" srcOrd="0" destOrd="0" presId="urn:microsoft.com/office/officeart/2005/8/layout/chevron2"/>
    <dgm:cxn modelId="{2138887E-28AD-4A6A-BF19-6542DD84A2FA}" srcId="{27CA51D4-465F-4F7A-AD22-2DEBD4EA2EC1}" destId="{F3732164-5C4B-4FAB-9DCB-9B3906713856}" srcOrd="0" destOrd="0" parTransId="{270DB5FD-8D28-4320-AE5A-A1AD7C587B60}" sibTransId="{5A05B751-E4D0-4F1F-B57A-FCEE3B8D77FE}"/>
    <dgm:cxn modelId="{0D11F62B-9A7D-42F2-B736-31397B29243D}" type="presOf" srcId="{FBF64EDC-5275-464C-800B-DE9F4AFE4C23}" destId="{0472EBF5-9277-4122-BEB8-D535F643C253}" srcOrd="0" destOrd="0" presId="urn:microsoft.com/office/officeart/2005/8/layout/chevron2"/>
    <dgm:cxn modelId="{75F14208-2E97-4C2F-85C7-4D7EA46B350D}" srcId="{F49650C7-25BB-4895-9171-E167187D96BA}" destId="{C90A8CC9-ADD8-4E7A-8068-1693683E5D43}" srcOrd="0" destOrd="0" parTransId="{C3EDBFEE-632C-4E87-9ED2-E4170E61DDC0}" sibTransId="{6D942C8D-CC90-440F-B940-F47015D84FA2}"/>
    <dgm:cxn modelId="{70575874-5C83-45AF-9FFE-5CF058EFCAF7}" type="presOf" srcId="{B5D36304-7CBA-4A07-9530-EC015DF5D6C3}" destId="{DA9F3015-97AA-46AF-93F1-DEF07767DC11}" srcOrd="0" destOrd="0" presId="urn:microsoft.com/office/officeart/2005/8/layout/chevron2"/>
    <dgm:cxn modelId="{07A0568E-F9B6-46F0-A06E-77D27DF2F94D}" type="presOf" srcId="{F49650C7-25BB-4895-9171-E167187D96BA}" destId="{7C36CB5A-38E3-42D4-8FE8-569DD73B728E}" srcOrd="0" destOrd="0" presId="urn:microsoft.com/office/officeart/2005/8/layout/chevron2"/>
    <dgm:cxn modelId="{72595273-3351-4B76-9F92-ABA92E3D3276}" type="presOf" srcId="{492BA6B9-F35F-4749-8364-0F1CDA1A9A40}" destId="{02842844-2E50-483D-A5A2-E97785C60DC6}" srcOrd="0" destOrd="0" presId="urn:microsoft.com/office/officeart/2005/8/layout/chevron2"/>
    <dgm:cxn modelId="{6707EFAD-1CA9-47A7-AB78-0C3E6842A89C}" type="presParOf" srcId="{7453849F-C955-4245-A5CB-1C1CB84C7FBF}" destId="{7231E4E3-88F0-4A44-91A8-6D496F93623C}" srcOrd="0" destOrd="0" presId="urn:microsoft.com/office/officeart/2005/8/layout/chevron2"/>
    <dgm:cxn modelId="{ADA0C350-B599-4497-846B-BEF05A5F4485}" type="presParOf" srcId="{7231E4E3-88F0-4A44-91A8-6D496F93623C}" destId="{560290B6-6B83-4DE4-A89E-5CD3CB687AB9}" srcOrd="0" destOrd="0" presId="urn:microsoft.com/office/officeart/2005/8/layout/chevron2"/>
    <dgm:cxn modelId="{8587604C-7371-48CE-9B4F-D0FC0904687A}" type="presParOf" srcId="{7231E4E3-88F0-4A44-91A8-6D496F93623C}" destId="{02842844-2E50-483D-A5A2-E97785C60DC6}" srcOrd="1" destOrd="0" presId="urn:microsoft.com/office/officeart/2005/8/layout/chevron2"/>
    <dgm:cxn modelId="{D5090537-1A36-4344-B396-D3D930EBD00B}" type="presParOf" srcId="{7453849F-C955-4245-A5CB-1C1CB84C7FBF}" destId="{FDF011F1-204D-43E3-AC41-D3D87DDB8B7C}" srcOrd="1" destOrd="0" presId="urn:microsoft.com/office/officeart/2005/8/layout/chevron2"/>
    <dgm:cxn modelId="{1FA59040-ADA4-431F-AB75-B0E17B54FEB4}" type="presParOf" srcId="{7453849F-C955-4245-A5CB-1C1CB84C7FBF}" destId="{7808D10E-FECF-4D7C-897A-0B57914051C5}" srcOrd="2" destOrd="0" presId="urn:microsoft.com/office/officeart/2005/8/layout/chevron2"/>
    <dgm:cxn modelId="{AD67B218-E895-4291-9AA7-3852503070E2}" type="presParOf" srcId="{7808D10E-FECF-4D7C-897A-0B57914051C5}" destId="{68E1EA8D-B99A-4E0F-9DCB-8D07706F38F6}" srcOrd="0" destOrd="0" presId="urn:microsoft.com/office/officeart/2005/8/layout/chevron2"/>
    <dgm:cxn modelId="{770CDB41-5B8D-489B-957C-AC6BB25E0188}" type="presParOf" srcId="{7808D10E-FECF-4D7C-897A-0B57914051C5}" destId="{C9A388CF-2E91-4392-AEA0-05BE04FF36A1}" srcOrd="1" destOrd="0" presId="urn:microsoft.com/office/officeart/2005/8/layout/chevron2"/>
    <dgm:cxn modelId="{44DD94C7-3EB4-4229-947B-3EF0CB4B1808}" type="presParOf" srcId="{7453849F-C955-4245-A5CB-1C1CB84C7FBF}" destId="{D96B4D19-898E-42AC-A21D-393E52CC9AC6}" srcOrd="3" destOrd="0" presId="urn:microsoft.com/office/officeart/2005/8/layout/chevron2"/>
    <dgm:cxn modelId="{A9B86916-4C3A-460A-A57A-1C6905C3AA54}" type="presParOf" srcId="{7453849F-C955-4245-A5CB-1C1CB84C7FBF}" destId="{A0A0FED7-8ECB-42F2-AD3C-F7AFA10E5483}" srcOrd="4" destOrd="0" presId="urn:microsoft.com/office/officeart/2005/8/layout/chevron2"/>
    <dgm:cxn modelId="{9FF82A4D-F875-4E44-A231-DDAEF67EDB66}" type="presParOf" srcId="{A0A0FED7-8ECB-42F2-AD3C-F7AFA10E5483}" destId="{7C36CB5A-38E3-42D4-8FE8-569DD73B728E}" srcOrd="0" destOrd="0" presId="urn:microsoft.com/office/officeart/2005/8/layout/chevron2"/>
    <dgm:cxn modelId="{4F485B30-F443-4ED7-97BF-9370428F0451}" type="presParOf" srcId="{A0A0FED7-8ECB-42F2-AD3C-F7AFA10E5483}" destId="{8C8F7837-1E3A-4905-8608-36809E0B2A79}" srcOrd="1" destOrd="0" presId="urn:microsoft.com/office/officeart/2005/8/layout/chevron2"/>
    <dgm:cxn modelId="{1DD98CAD-531B-4437-AAA1-2C0D5AF5B451}" type="presParOf" srcId="{7453849F-C955-4245-A5CB-1C1CB84C7FBF}" destId="{2E409694-C2FA-4515-8AB5-61C5F31B8F09}" srcOrd="5" destOrd="0" presId="urn:microsoft.com/office/officeart/2005/8/layout/chevron2"/>
    <dgm:cxn modelId="{884735F9-F6CF-4A37-8241-427845D89B5D}" type="presParOf" srcId="{7453849F-C955-4245-A5CB-1C1CB84C7FBF}" destId="{85D2022B-DA2F-4A8C-8702-EBBB37B95911}" srcOrd="6" destOrd="0" presId="urn:microsoft.com/office/officeart/2005/8/layout/chevron2"/>
    <dgm:cxn modelId="{0B67CAE3-AF7A-443C-B8AD-D8F841452436}" type="presParOf" srcId="{85D2022B-DA2F-4A8C-8702-EBBB37B95911}" destId="{DA9F3015-97AA-46AF-93F1-DEF07767DC11}" srcOrd="0" destOrd="0" presId="urn:microsoft.com/office/officeart/2005/8/layout/chevron2"/>
    <dgm:cxn modelId="{BE2005DF-FA39-4AC2-B29A-565E6251D61E}" type="presParOf" srcId="{85D2022B-DA2F-4A8C-8702-EBBB37B95911}" destId="{0472EBF5-9277-4122-BEB8-D535F643C25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8D64AF-3476-4639-A9B1-5196FF927A4A}">
      <dsp:nvSpPr>
        <dsp:cNvPr id="0" name=""/>
        <dsp:cNvSpPr/>
      </dsp:nvSpPr>
      <dsp:spPr>
        <a:xfrm>
          <a:off x="2458067" y="820"/>
          <a:ext cx="3682600" cy="896333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b="1" kern="1200" dirty="0" smtClean="0">
              <a:latin typeface="Times New Roman" pitchFamily="18" charset="0"/>
              <a:cs typeface="Times New Roman" pitchFamily="18" charset="0"/>
            </a:rPr>
            <a:t>Соглашения о взаимодействии и сотрудничестве   (двусторонние, трехсторонние);</a:t>
          </a:r>
          <a:endParaRPr lang="ru-RU" sz="1200" b="1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b="1" kern="1200" dirty="0" smtClean="0">
              <a:latin typeface="Times New Roman" pitchFamily="18" charset="0"/>
              <a:cs typeface="Times New Roman" pitchFamily="18" charset="0"/>
            </a:rPr>
            <a:t>Договоры на оказание образовательных услуг</a:t>
          </a:r>
          <a:endParaRPr lang="ru-RU" sz="1200" b="1" kern="1200" dirty="0">
            <a:latin typeface="Times New Roman" pitchFamily="18" charset="0"/>
            <a:cs typeface="Times New Roman" pitchFamily="18" charset="0"/>
          </a:endParaRPr>
        </a:p>
      </dsp:txBody>
      <dsp:txXfrm>
        <a:off x="2458067" y="112862"/>
        <a:ext cx="3346475" cy="672249"/>
      </dsp:txXfrm>
    </dsp:sp>
    <dsp:sp modelId="{BA93AF20-F1A7-4AA2-953D-4CE8A308A582}">
      <dsp:nvSpPr>
        <dsp:cNvPr id="0" name=""/>
        <dsp:cNvSpPr/>
      </dsp:nvSpPr>
      <dsp:spPr>
        <a:xfrm>
          <a:off x="2999" y="66108"/>
          <a:ext cx="2455067" cy="7657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itchFamily="18" charset="0"/>
              <a:cs typeface="Times New Roman" pitchFamily="18" charset="0"/>
            </a:rPr>
            <a:t>Формы  взаимодействия</a:t>
          </a:r>
          <a:endParaRPr lang="ru-RU" sz="16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40380" y="103489"/>
        <a:ext cx="2380305" cy="690994"/>
      </dsp:txXfrm>
    </dsp:sp>
    <dsp:sp modelId="{AA55C1C4-EB33-4600-A1B1-F9B75D0E7A42}">
      <dsp:nvSpPr>
        <dsp:cNvPr id="0" name=""/>
        <dsp:cNvSpPr/>
      </dsp:nvSpPr>
      <dsp:spPr>
        <a:xfrm>
          <a:off x="2485918" y="934058"/>
          <a:ext cx="3657402" cy="708195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200" b="1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b="1" kern="1200" dirty="0" smtClean="0">
              <a:latin typeface="Times New Roman" pitchFamily="18" charset="0"/>
              <a:cs typeface="Times New Roman" pitchFamily="18" charset="0"/>
            </a:rPr>
            <a:t>Средства организации</a:t>
          </a:r>
          <a:endParaRPr lang="ru-RU" sz="1500" b="1" kern="1200" dirty="0">
            <a:latin typeface="Times New Roman" pitchFamily="18" charset="0"/>
            <a:cs typeface="Times New Roman" pitchFamily="18" charset="0"/>
          </a:endParaRPr>
        </a:p>
      </dsp:txBody>
      <dsp:txXfrm>
        <a:off x="2485918" y="1022582"/>
        <a:ext cx="3391829" cy="531147"/>
      </dsp:txXfrm>
    </dsp:sp>
    <dsp:sp modelId="{CDC8347A-DAE8-4F9D-AE12-466E8D5A95AB}">
      <dsp:nvSpPr>
        <dsp:cNvPr id="0" name=""/>
        <dsp:cNvSpPr/>
      </dsp:nvSpPr>
      <dsp:spPr>
        <a:xfrm>
          <a:off x="347" y="1000086"/>
          <a:ext cx="2485570" cy="57613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itchFamily="18" charset="0"/>
              <a:cs typeface="Times New Roman" pitchFamily="18" charset="0"/>
            </a:rPr>
            <a:t>Источники финансирования</a:t>
          </a:r>
          <a:endParaRPr lang="ru-RU" sz="16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8472" y="1028211"/>
        <a:ext cx="2429320" cy="5198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8D64AF-3476-4639-A9B1-5196FF927A4A}">
      <dsp:nvSpPr>
        <dsp:cNvPr id="0" name=""/>
        <dsp:cNvSpPr/>
      </dsp:nvSpPr>
      <dsp:spPr>
        <a:xfrm>
          <a:off x="2458067" y="10752"/>
          <a:ext cx="3682600" cy="531020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Очная, очно-заочная </a:t>
          </a:r>
          <a:endParaRPr lang="ru-RU" sz="1400" b="1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(продолжительность от 16 часов)</a:t>
          </a:r>
          <a:endParaRPr lang="ru-RU" sz="1400" b="1" kern="1200" dirty="0">
            <a:latin typeface="Times New Roman" pitchFamily="18" charset="0"/>
            <a:cs typeface="Times New Roman" pitchFamily="18" charset="0"/>
          </a:endParaRPr>
        </a:p>
      </dsp:txBody>
      <dsp:txXfrm>
        <a:off x="2458067" y="77130"/>
        <a:ext cx="3483468" cy="398265"/>
      </dsp:txXfrm>
    </dsp:sp>
    <dsp:sp modelId="{BA93AF20-F1A7-4AA2-953D-4CE8A308A582}">
      <dsp:nvSpPr>
        <dsp:cNvPr id="0" name=""/>
        <dsp:cNvSpPr/>
      </dsp:nvSpPr>
      <dsp:spPr>
        <a:xfrm>
          <a:off x="2999" y="1320"/>
          <a:ext cx="2455067" cy="5498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itchFamily="18" charset="0"/>
              <a:cs typeface="Times New Roman" pitchFamily="18" charset="0"/>
            </a:rPr>
            <a:t>Формы  организации обучения</a:t>
          </a:r>
          <a:endParaRPr lang="ru-RU" sz="16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9842" y="28163"/>
        <a:ext cx="2401381" cy="496199"/>
      </dsp:txXfrm>
    </dsp:sp>
    <dsp:sp modelId="{AA55C1C4-EB33-4600-A1B1-F9B75D0E7A42}">
      <dsp:nvSpPr>
        <dsp:cNvPr id="0" name=""/>
        <dsp:cNvSpPr/>
      </dsp:nvSpPr>
      <dsp:spPr>
        <a:xfrm>
          <a:off x="2477738" y="508741"/>
          <a:ext cx="3650820" cy="1043029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г. Москва, г. Нововоронеж (курсы ПК)</a:t>
          </a:r>
          <a:endParaRPr lang="ru-RU" sz="1400" b="1" kern="1200" dirty="0">
            <a:latin typeface="Times New Roman" pitchFamily="18" charset="0"/>
            <a:cs typeface="Times New Roman" pitchFamily="18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Места дислокации  организаций (специализированные курсы ПК)</a:t>
          </a:r>
          <a:endParaRPr lang="ru-RU" sz="1400" b="1" kern="1200" dirty="0">
            <a:latin typeface="Times New Roman" pitchFamily="18" charset="0"/>
            <a:cs typeface="Times New Roman" pitchFamily="18" charset="0"/>
          </a:endParaRPr>
        </a:p>
      </dsp:txBody>
      <dsp:txXfrm>
        <a:off x="2477738" y="639120"/>
        <a:ext cx="3259684" cy="782271"/>
      </dsp:txXfrm>
    </dsp:sp>
    <dsp:sp modelId="{CDC8347A-DAE8-4F9D-AE12-466E8D5A95AB}">
      <dsp:nvSpPr>
        <dsp:cNvPr id="0" name=""/>
        <dsp:cNvSpPr/>
      </dsp:nvSpPr>
      <dsp:spPr>
        <a:xfrm>
          <a:off x="37413" y="720209"/>
          <a:ext cx="2455067" cy="65675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itchFamily="18" charset="0"/>
              <a:cs typeface="Times New Roman" pitchFamily="18" charset="0"/>
            </a:rPr>
            <a:t>Место проведения занятий</a:t>
          </a:r>
          <a:endParaRPr lang="ru-RU" sz="16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69473" y="752269"/>
        <a:ext cx="2390947" cy="5926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0290B6-6B83-4DE4-A89E-5CD3CB687AB9}">
      <dsp:nvSpPr>
        <dsp:cNvPr id="0" name=""/>
        <dsp:cNvSpPr/>
      </dsp:nvSpPr>
      <dsp:spPr>
        <a:xfrm rot="5400000">
          <a:off x="-215143" y="386392"/>
          <a:ext cx="1395800" cy="977060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+mn-lt"/>
              <a:cs typeface="Arial" panose="020B0604020202020204" pitchFamily="34" charset="0"/>
            </a:rPr>
            <a:t>1</a:t>
          </a:r>
          <a:endParaRPr lang="ru-RU" sz="1600" b="1" kern="1200" dirty="0">
            <a:latin typeface="+mn-lt"/>
            <a:cs typeface="Arial" panose="020B0604020202020204" pitchFamily="34" charset="0"/>
          </a:endParaRPr>
        </a:p>
      </dsp:txBody>
      <dsp:txXfrm rot="-5400000">
        <a:off x="-5773" y="665552"/>
        <a:ext cx="977060" cy="418740"/>
      </dsp:txXfrm>
    </dsp:sp>
    <dsp:sp modelId="{02842844-2E50-483D-A5A2-E97785C60DC6}">
      <dsp:nvSpPr>
        <dsp:cNvPr id="0" name=""/>
        <dsp:cNvSpPr/>
      </dsp:nvSpPr>
      <dsp:spPr>
        <a:xfrm rot="5400000">
          <a:off x="5412224" y="-4475679"/>
          <a:ext cx="1245183" cy="101965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latin typeface="+mn-lt"/>
            </a:rPr>
            <a:t>Подготовка перечня профессий, специальностей, квалификаций, требующих разработки Профессиональных Стандартов  и внесения изменений в действующие ПС, отражающие специфику ЯРБ при сооружении ОИАЭ</a:t>
          </a:r>
          <a:endParaRPr lang="ru-RU" sz="1600" b="1" kern="1200" dirty="0">
            <a:latin typeface="+mn-lt"/>
            <a:cs typeface="Arial" panose="020B0604020202020204" pitchFamily="34" charset="0"/>
          </a:endParaRPr>
        </a:p>
      </dsp:txBody>
      <dsp:txXfrm rot="-5400000">
        <a:off x="936545" y="60785"/>
        <a:ext cx="10135758" cy="1123613"/>
      </dsp:txXfrm>
    </dsp:sp>
    <dsp:sp modelId="{68E1EA8D-B99A-4E0F-9DCB-8D07706F38F6}">
      <dsp:nvSpPr>
        <dsp:cNvPr id="0" name=""/>
        <dsp:cNvSpPr/>
      </dsp:nvSpPr>
      <dsp:spPr>
        <a:xfrm rot="5400000">
          <a:off x="-215143" y="1647619"/>
          <a:ext cx="1395800" cy="977060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+mn-lt"/>
              <a:cs typeface="Arial" panose="020B0604020202020204" pitchFamily="34" charset="0"/>
            </a:rPr>
            <a:t>2</a:t>
          </a:r>
          <a:endParaRPr lang="ru-RU" sz="1600" b="1" kern="1200" dirty="0">
            <a:latin typeface="+mn-lt"/>
            <a:cs typeface="Arial" panose="020B0604020202020204" pitchFamily="34" charset="0"/>
          </a:endParaRPr>
        </a:p>
      </dsp:txBody>
      <dsp:txXfrm rot="-5400000">
        <a:off x="-5773" y="1926779"/>
        <a:ext cx="977060" cy="418740"/>
      </dsp:txXfrm>
    </dsp:sp>
    <dsp:sp modelId="{C9A388CF-2E91-4392-AEA0-05BE04FF36A1}">
      <dsp:nvSpPr>
        <dsp:cNvPr id="0" name=""/>
        <dsp:cNvSpPr/>
      </dsp:nvSpPr>
      <dsp:spPr>
        <a:xfrm rot="5400000">
          <a:off x="5604376" y="-3194839"/>
          <a:ext cx="907270" cy="1017344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latin typeface="+mn-lt"/>
            </a:rPr>
            <a:t>Формирование, на основе перечня профессий, программы разработки ПС и внесения изменений в действующие ПС, отражающие специфику ЯРБ  при сооружения ОИАЭ</a:t>
          </a:r>
          <a:endParaRPr lang="ru-RU" sz="1600" b="1" kern="1200" dirty="0">
            <a:latin typeface="+mn-lt"/>
            <a:cs typeface="Arial" panose="020B0604020202020204" pitchFamily="34" charset="0"/>
          </a:endParaRPr>
        </a:p>
      </dsp:txBody>
      <dsp:txXfrm rot="-5400000">
        <a:off x="971287" y="1482539"/>
        <a:ext cx="10129160" cy="818692"/>
      </dsp:txXfrm>
    </dsp:sp>
    <dsp:sp modelId="{7C36CB5A-38E3-42D4-8FE8-569DD73B728E}">
      <dsp:nvSpPr>
        <dsp:cNvPr id="0" name=""/>
        <dsp:cNvSpPr/>
      </dsp:nvSpPr>
      <dsp:spPr>
        <a:xfrm rot="5400000">
          <a:off x="-215143" y="3100381"/>
          <a:ext cx="1395800" cy="977060"/>
        </a:xfrm>
        <a:prstGeom prst="chevron">
          <a:avLst/>
        </a:prstGeom>
        <a:solidFill>
          <a:srgbClr val="002060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+mn-lt"/>
              <a:cs typeface="Arial" panose="020B0604020202020204" pitchFamily="34" charset="0"/>
            </a:rPr>
            <a:t>3</a:t>
          </a:r>
          <a:endParaRPr lang="ru-RU" sz="1600" b="1" kern="1200" dirty="0">
            <a:latin typeface="+mn-lt"/>
            <a:cs typeface="Arial" panose="020B0604020202020204" pitchFamily="34" charset="0"/>
          </a:endParaRPr>
        </a:p>
      </dsp:txBody>
      <dsp:txXfrm rot="-5400000">
        <a:off x="-5773" y="3379541"/>
        <a:ext cx="977060" cy="418740"/>
      </dsp:txXfrm>
    </dsp:sp>
    <dsp:sp modelId="{8C8F7837-1E3A-4905-8608-36809E0B2A79}">
      <dsp:nvSpPr>
        <dsp:cNvPr id="0" name=""/>
        <dsp:cNvSpPr/>
      </dsp:nvSpPr>
      <dsp:spPr>
        <a:xfrm rot="5400000">
          <a:off x="5412842" y="-1742078"/>
          <a:ext cx="1290338" cy="1017344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effectLst/>
              <a:latin typeface="+mn-lt"/>
              <a:ea typeface="Calibri" panose="020F0502020204030204" pitchFamily="34" charset="0"/>
              <a:cs typeface="Arial" panose="020B0604020202020204" pitchFamily="34" charset="0"/>
            </a:rPr>
            <a:t>Профессионально-общественная аккредитация образовательных программ повышения квалификации и программ профессиональной подготовки профессий и специальностей направления </a:t>
          </a:r>
          <a:r>
            <a:rPr lang="ru-RU" sz="1600" b="1" kern="1200" dirty="0" smtClean="0">
              <a:latin typeface="+mn-lt"/>
            </a:rPr>
            <a:t>ЯРБ</a:t>
          </a:r>
          <a:endParaRPr lang="ru-RU" sz="1600" b="1" kern="1200" dirty="0">
            <a:latin typeface="+mn-lt"/>
            <a:cs typeface="Arial" panose="020B0604020202020204" pitchFamily="34" charset="0"/>
          </a:endParaRPr>
        </a:p>
      </dsp:txBody>
      <dsp:txXfrm rot="-5400000">
        <a:off x="971287" y="2762466"/>
        <a:ext cx="10110460" cy="1164360"/>
      </dsp:txXfrm>
    </dsp:sp>
    <dsp:sp modelId="{DA9F3015-97AA-46AF-93F1-DEF07767DC11}">
      <dsp:nvSpPr>
        <dsp:cNvPr id="0" name=""/>
        <dsp:cNvSpPr/>
      </dsp:nvSpPr>
      <dsp:spPr>
        <a:xfrm rot="5400000">
          <a:off x="-215143" y="4361608"/>
          <a:ext cx="1395800" cy="977060"/>
        </a:xfrm>
        <a:prstGeom prst="chevron">
          <a:avLst/>
        </a:prstGeom>
        <a:solidFill>
          <a:srgbClr val="000066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smtClean="0">
              <a:latin typeface="+mn-lt"/>
            </a:rPr>
            <a:t>4</a:t>
          </a:r>
          <a:endParaRPr lang="ru-RU" sz="1600" b="1" kern="1200" dirty="0">
            <a:latin typeface="+mn-lt"/>
          </a:endParaRPr>
        </a:p>
      </dsp:txBody>
      <dsp:txXfrm rot="-5400000">
        <a:off x="-5773" y="4640768"/>
        <a:ext cx="977060" cy="418740"/>
      </dsp:txXfrm>
    </dsp:sp>
    <dsp:sp modelId="{0472EBF5-9277-4122-BEB8-D535F643C253}">
      <dsp:nvSpPr>
        <dsp:cNvPr id="0" name=""/>
        <dsp:cNvSpPr/>
      </dsp:nvSpPr>
      <dsp:spPr>
        <a:xfrm rot="5400000">
          <a:off x="5604376" y="-480850"/>
          <a:ext cx="907270" cy="1017344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latin typeface="+mn-lt"/>
            </a:rPr>
            <a:t>Формирование программы переработки образовательных программ в соответствии с требованиями Профессиональных Стандартов  </a:t>
          </a:r>
          <a:endParaRPr lang="ru-RU" sz="1600" b="1" kern="1200" dirty="0">
            <a:latin typeface="+mn-lt"/>
          </a:endParaRPr>
        </a:p>
      </dsp:txBody>
      <dsp:txXfrm rot="-5400000">
        <a:off x="971287" y="4196528"/>
        <a:ext cx="10129160" cy="8186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4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5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6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475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>
              <a:defRPr sz="1200" dirty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8475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>
              <a:defRPr sz="1200"/>
            </a:lvl1pPr>
          </a:lstStyle>
          <a:p>
            <a:pPr>
              <a:defRPr/>
            </a:pPr>
            <a:fld id="{7DB851B5-869B-4E0F-9CAD-E7A4AA654F2A}" type="datetimeFigureOut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7213"/>
            <a:ext cx="2971800" cy="498475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>
              <a:defRPr sz="1200" dirty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9447213"/>
            <a:ext cx="2971800" cy="498475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r">
              <a:defRPr sz="1200"/>
            </a:lvl1pPr>
          </a:lstStyle>
          <a:p>
            <a:pPr>
              <a:defRPr/>
            </a:pPr>
            <a:fld id="{3B7D6C22-EE6A-42E2-9FA3-2C750C81C14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569652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475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475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3AA5BD1-368C-4C6D-928B-092F1DE5F508}" type="datetimeFigureOut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5288" y="746125"/>
            <a:ext cx="6067425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0" tIns="45935" rIns="91870" bIns="4593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25988"/>
            <a:ext cx="5486400" cy="4475162"/>
          </a:xfrm>
          <a:prstGeom prst="rect">
            <a:avLst/>
          </a:prstGeom>
        </p:spPr>
        <p:txBody>
          <a:bodyPr vert="horz" lIns="91870" tIns="45935" rIns="91870" bIns="45935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7213"/>
            <a:ext cx="2971800" cy="498475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7213"/>
            <a:ext cx="2971800" cy="498475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AB3A63D-B64F-4D02-84E7-EA780D103ED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48124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1112838" eaLnBrk="1" hangingPunct="1">
              <a:spcBef>
                <a:spcPct val="0"/>
              </a:spcBef>
            </a:pPr>
            <a:endParaRPr lang="ru-RU" sz="1500" smtClean="0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C537CB9-639B-44E4-92EE-3153AD3353F1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3071833-5FB7-459D-B4CF-573D91A68A8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318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15000"/>
              </a:lnSpc>
              <a:spcAft>
                <a:spcPts val="600"/>
              </a:spcAft>
            </a:pPr>
            <a:endParaRPr lang="ru-RU" alt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652C5BD-A601-47D7-8A7B-35AF93D10ACB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523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2317AAB-961C-450F-8DF2-26A3D679D690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728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2985EF-C715-4D89-AAC7-82932F977256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2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933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95195A6-6629-48B1-9575-15F7FD8FEF76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6"/>
          <p:cNvGrpSpPr>
            <a:grpSpLocks/>
          </p:cNvGrpSpPr>
          <p:nvPr userDrawn="1"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5" name="Овал 7"/>
            <p:cNvSpPr>
              <a:spLocks noChangeAspect="1"/>
            </p:cNvSpPr>
            <p:nvPr userDrawn="1"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6" name="Picture 4" descr="LOGO_SAS7_small"/>
            <p:cNvPicPr>
              <a:picLocks noChangeAspect="1" noChangeArrowheads="1"/>
            </p:cNvPicPr>
            <p:nvPr/>
          </p:nvPicPr>
          <p:blipFill>
            <a:blip r:embed="rId2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37129" y="2130438"/>
            <a:ext cx="9487456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74257" y="3886200"/>
            <a:ext cx="7813199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latin typeface="Arial" charset="0"/>
                <a:cs typeface="Arial" charset="0"/>
              </a:defRPr>
            </a:lvl1pPr>
          </a:lstStyle>
          <a:p>
            <a:fld id="{57B395D2-46FF-4787-ABC7-92F60957C031}" type="datetime1">
              <a:rPr lang="ru-RU"/>
              <a:pPr/>
              <a:t>26.07.2016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ru-RU"/>
              <a:t>Докладчик: Опекунов Виктор Семёнович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F64B2F7-D459-4975-A460-0A147325395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6"/>
          <p:cNvGrpSpPr>
            <a:grpSpLocks/>
          </p:cNvGrpSpPr>
          <p:nvPr userDrawn="1"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5" name="Овал 7"/>
            <p:cNvSpPr>
              <a:spLocks noChangeAspect="1"/>
            </p:cNvSpPr>
            <p:nvPr userDrawn="1"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6" name="Picture 4" descr="LOGO_SAS7_small"/>
            <p:cNvPicPr>
              <a:picLocks noChangeAspect="1" noChangeArrowheads="1"/>
            </p:cNvPicPr>
            <p:nvPr/>
          </p:nvPicPr>
          <p:blipFill>
            <a:blip r:embed="rId2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79158E4-B417-4503-83D6-112EAC134B4F}" type="datetime1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Докладчик: Опекунов Виктор Семёнович</a:t>
            </a: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6D94BE4-ABA4-4E27-A29D-7AD29A7B94E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6"/>
          <p:cNvGrpSpPr>
            <a:grpSpLocks/>
          </p:cNvGrpSpPr>
          <p:nvPr userDrawn="1"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5" name="Овал 7"/>
            <p:cNvSpPr>
              <a:spLocks noChangeAspect="1"/>
            </p:cNvSpPr>
            <p:nvPr userDrawn="1"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6" name="Picture 4" descr="LOGO_SAS7_small"/>
            <p:cNvPicPr>
              <a:picLocks noChangeAspect="1" noChangeArrowheads="1"/>
            </p:cNvPicPr>
            <p:nvPr/>
          </p:nvPicPr>
          <p:blipFill>
            <a:blip r:embed="rId2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092242" y="274643"/>
            <a:ext cx="2511385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58086" y="274643"/>
            <a:ext cx="7348128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5EC3480-EE9D-4DA6-89E5-67111E428C8E}" type="datetime1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Докладчик: Опекунов Виктор Семёнович</a:t>
            </a: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B2BA992-217E-4A88-B84D-9B57E041757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37129" y="2130450"/>
            <a:ext cx="9487456" cy="677108"/>
          </a:xfrm>
        </p:spPr>
        <p:txBody>
          <a:bodyPr lIns="0" tIns="0" rIns="0" bIns="0" anchor="t">
            <a:sp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>
          <a:xfrm>
            <a:off x="558800" y="6492875"/>
            <a:ext cx="2603500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4BAD48C-082E-4BE8-826E-0BA30F4D2DA7}" type="datetime1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65500" y="6494463"/>
            <a:ext cx="4430713" cy="363537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Докладчик: Опекунов Виктор Семёнович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48688" y="6492875"/>
            <a:ext cx="2605087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86DB698-BBFF-4E87-BDCA-4B3DC2DA767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37129" y="2130450"/>
            <a:ext cx="9487456" cy="677108"/>
          </a:xfrm>
        </p:spPr>
        <p:txBody>
          <a:bodyPr lIns="0" tIns="0" rIns="0" bIns="0" anchor="t">
            <a:sp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>
          <a:xfrm>
            <a:off x="558800" y="6492875"/>
            <a:ext cx="2603500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77A909F-F78C-4140-AB80-4C982343746A}" type="datetime1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65500" y="6494463"/>
            <a:ext cx="4430713" cy="363537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Докладчик: Опекунов Виктор Семёнович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48688" y="6492875"/>
            <a:ext cx="2605087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67F2834-F5C3-46E9-9C1B-10AF7B615B1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37129" y="2130450"/>
            <a:ext cx="9487456" cy="677108"/>
          </a:xfrm>
        </p:spPr>
        <p:txBody>
          <a:bodyPr lIns="0" tIns="0" rIns="0" bIns="0" anchor="t">
            <a:sp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>
          <a:xfrm>
            <a:off x="558800" y="6492875"/>
            <a:ext cx="2603500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E0587E5-820E-4CB4-82E9-E556B742845D}" type="datetime1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65500" y="6494463"/>
            <a:ext cx="4430713" cy="363537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Докладчик: Опекунов Виктор Семёнович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48688" y="6492875"/>
            <a:ext cx="2605087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9E8F474-053E-498E-BA9D-47955BE3878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37129" y="2130450"/>
            <a:ext cx="9487456" cy="677108"/>
          </a:xfrm>
        </p:spPr>
        <p:txBody>
          <a:bodyPr lIns="0" tIns="0" rIns="0" bIns="0" anchor="t">
            <a:sp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>
          <a:xfrm>
            <a:off x="558800" y="6492875"/>
            <a:ext cx="2603500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E97CCE9-766C-4B99-A711-A18CBEAD99C4}" type="datetime1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65500" y="6494463"/>
            <a:ext cx="4430713" cy="363537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Докладчик: Опекунов Виктор Семёнович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48688" y="6492875"/>
            <a:ext cx="2605087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111BEA3-9708-4537-8927-DF6A1168ED5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37129" y="2130450"/>
            <a:ext cx="9487456" cy="677108"/>
          </a:xfrm>
        </p:spPr>
        <p:txBody>
          <a:bodyPr lIns="0" tIns="0" rIns="0" bIns="0" anchor="t">
            <a:sp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>
          <a:xfrm>
            <a:off x="558800" y="6492875"/>
            <a:ext cx="2603500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110695E-5FC8-42BF-8422-2559DDE3FE61}" type="datetime1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65500" y="6494463"/>
            <a:ext cx="4430713" cy="363537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Докладчик: Опекунов Виктор Семёнович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48688" y="6492875"/>
            <a:ext cx="2605087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0DE1679-9F7A-45C8-9C39-1A44E0BDCC8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37129" y="2130450"/>
            <a:ext cx="9487456" cy="677108"/>
          </a:xfrm>
        </p:spPr>
        <p:txBody>
          <a:bodyPr lIns="0" tIns="0" rIns="0" bIns="0" anchor="t">
            <a:sp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>
          <a:xfrm>
            <a:off x="558800" y="6492875"/>
            <a:ext cx="2603500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F7D51AE-0A3D-44C2-A67F-72E0F92748D5}" type="datetime1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65500" y="6494463"/>
            <a:ext cx="4430713" cy="363537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dirty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Докладчик: Опекунов Виктор Семёнович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48688" y="6492875"/>
            <a:ext cx="2605087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AB5A5AB-6C8F-4E56-8F23-506D8A2D155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2201" y="117474"/>
            <a:ext cx="8989173" cy="393863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80000"/>
              </a:lnSpc>
              <a:defRPr sz="3200" b="1">
                <a:ln>
                  <a:noFill/>
                </a:ln>
                <a:effectLst/>
                <a:latin typeface="+mn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ru-RU"/>
              <a:t>21.02.2014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ru-RU"/>
              <a:t>Докладчик: Опекунов Виктор Семёнович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194925" y="6421438"/>
            <a:ext cx="930275" cy="365125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solidFill>
                  <a:prstClr val="white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79ABF23-E46A-4340-BA39-4D7852D34CA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5288" y="293688"/>
            <a:ext cx="2044700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47996" y="2181280"/>
            <a:ext cx="10107551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48010" y="3284539"/>
            <a:ext cx="4569326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latin typeface="Arial" charset="0"/>
                <a:cs typeface="Arial" charset="0"/>
              </a:defRPr>
            </a:lvl1pPr>
          </a:lstStyle>
          <a:p>
            <a:fld id="{6DED0773-53BC-4BBA-B397-EC9B54499E38}" type="datetime1">
              <a:rPr lang="ru-RU"/>
              <a:pPr/>
              <a:t>26.07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CFDCF0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ru-RU"/>
              <a:t>Докладчик: Опекунов Виктор Семёнович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C4CE938-2FD8-4357-8810-E141C809267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4DA5E047-BB0A-4BF1-8B51-DA5CB4AF93C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1698" y="4406955"/>
            <a:ext cx="9487456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81698" y="2906713"/>
            <a:ext cx="9487456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37D61D37-75DF-47B9-8352-6FA4F3E6DFB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71679" y="1125538"/>
            <a:ext cx="5047962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805672" y="1125538"/>
            <a:ext cx="5049900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357861CE-F072-4234-AE5B-652F546404B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8086" y="274638"/>
            <a:ext cx="10045542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58088" y="1535113"/>
            <a:ext cx="493169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58088" y="2174875"/>
            <a:ext cx="493169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670003" y="1535113"/>
            <a:ext cx="493363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670003" y="2174875"/>
            <a:ext cx="493363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0D29DF97-5A1B-4C74-BEE7-92E0B55B049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B6B498DC-2065-4EC1-9197-769567A5B58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870AFEFD-4424-4EF9-B6B4-A5B278C025B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8091" y="273050"/>
            <a:ext cx="3672127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363921" y="273054"/>
            <a:ext cx="623970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58091" y="1435103"/>
            <a:ext cx="3672127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BD87B7CB-5CBD-4126-9AAF-63C048C1A89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87774" y="4800600"/>
            <a:ext cx="6697028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187774" y="612775"/>
            <a:ext cx="6697028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187774" y="5367338"/>
            <a:ext cx="669702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14049FC8-7B36-4CE9-8C40-49E64C0A9B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35EF0891-34F3-439C-ACFF-9C5DAE53D89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86035" y="0"/>
            <a:ext cx="2569519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71660" y="0"/>
            <a:ext cx="7528342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45DD15E1-7748-4FE7-8D02-0726F90B86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6"/>
          <p:cNvGrpSpPr>
            <a:grpSpLocks/>
          </p:cNvGrpSpPr>
          <p:nvPr userDrawn="1"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5" name="Овал 7"/>
            <p:cNvSpPr>
              <a:spLocks noChangeAspect="1"/>
            </p:cNvSpPr>
            <p:nvPr userDrawn="1"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6" name="Picture 4" descr="LOGO_SAS7_small"/>
            <p:cNvPicPr>
              <a:picLocks noChangeAspect="1" noChangeArrowheads="1"/>
            </p:cNvPicPr>
            <p:nvPr/>
          </p:nvPicPr>
          <p:blipFill>
            <a:blip r:embed="rId2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1698" y="4406913"/>
            <a:ext cx="9487456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81698" y="2906713"/>
            <a:ext cx="9487456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DA057F9-AE52-44E7-A82A-68B8B4DBD418}" type="datetime1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Докладчик: Опекунов Виктор Семёнович</a:t>
            </a: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14E545D-2753-408F-B74D-C9D9121B69F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8438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8438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8326" y="533220"/>
            <a:ext cx="10837439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b"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02EA52DB-92CA-4036-A7BA-F49CA8CB003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8438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8438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8326" y="533220"/>
            <a:ext cx="10837439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b"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4FF0E131-D472-41A0-8D33-2EA9AB476B4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8438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8438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8326" y="533218"/>
            <a:ext cx="10837439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b"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F0D191DF-937A-442F-AFB2-BFF1AC813F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8086" y="363538"/>
            <a:ext cx="10045542" cy="42703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58086" y="1600200"/>
            <a:ext cx="10045542" cy="2168525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58800" y="6245225"/>
            <a:ext cx="26035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813175" y="6245225"/>
            <a:ext cx="3535363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solidFill>
                  <a:srgbClr val="414142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US"/>
              <a:t>www.ibrae.ac.ru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56625" y="6526213"/>
            <a:ext cx="2605088" cy="287337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A02090B8-E8CF-42CE-91B1-45F2A35D19A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395288" y="293688"/>
            <a:ext cx="2044700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47996" y="2181268"/>
            <a:ext cx="10107551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47999" y="3284539"/>
            <a:ext cx="4569326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49BAF37-73DC-4D96-BEFA-57AD80B06D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1698" y="4406943"/>
            <a:ext cx="9487456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81698" y="2906713"/>
            <a:ext cx="9487456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292501E-CC2E-4517-A1B8-FCA9555D94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71674" y="1125538"/>
            <a:ext cx="5047962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805666" y="1125538"/>
            <a:ext cx="5049900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2D21141-2623-4955-B005-DEFE6BFD6F6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8086" y="274638"/>
            <a:ext cx="10045542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58088" y="1535113"/>
            <a:ext cx="493169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58088" y="2174875"/>
            <a:ext cx="493169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670003" y="1535113"/>
            <a:ext cx="493363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670003" y="2174875"/>
            <a:ext cx="493363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E04D1D5-4A67-484A-901D-817676FC2F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77FE9A58-9CC5-4036-9923-BA0AFB1FA42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58085" y="1600205"/>
            <a:ext cx="4929757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673873" y="1600205"/>
            <a:ext cx="4929757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16925B1-FA41-496D-A8F1-AA990E8E96E4}" type="datetime1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Докладчик: Опекунов Виктор Семёнович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D7FA07F-ED1F-46A5-B5D6-4760905AD02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0A11B0AE-0519-4289-A083-9B1F9172AB0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8089" y="273050"/>
            <a:ext cx="3672127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363921" y="273052"/>
            <a:ext cx="623970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58089" y="1435102"/>
            <a:ext cx="3672127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A8319E3A-32D8-4275-9074-BFD2F95F89C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87774" y="4800600"/>
            <a:ext cx="6697028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187774" y="612775"/>
            <a:ext cx="6697028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187774" y="5367338"/>
            <a:ext cx="669702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FEAE6579-2658-4BC5-B29E-30F06F8410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906EAEC-1E73-4770-B5D8-BAEF7FE584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86032" y="0"/>
            <a:ext cx="2569519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71660" y="0"/>
            <a:ext cx="7528342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8116169-51A1-4392-ABE1-3F91BD69489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5288" y="293688"/>
            <a:ext cx="2044700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47994" y="2181272"/>
            <a:ext cx="10107551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48010" y="3284539"/>
            <a:ext cx="4569326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D76A1A1B-6553-4CCA-B408-CA69AD329B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1698" y="4406947"/>
            <a:ext cx="9487456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81698" y="2906713"/>
            <a:ext cx="9487456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F6638DB9-0018-4AA7-93EC-FB6D3E46407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71679" y="1125538"/>
            <a:ext cx="5047962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805670" y="1125538"/>
            <a:ext cx="5049900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DD37558C-4292-441B-9920-762FBE5F43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8086" y="274638"/>
            <a:ext cx="10045542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58086" y="1535113"/>
            <a:ext cx="493169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58086" y="2174875"/>
            <a:ext cx="493169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670001" y="1535113"/>
            <a:ext cx="493363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670001" y="2174875"/>
            <a:ext cx="493363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2C7451E9-CFDC-4031-90AE-CDAEFCFBADD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9"/>
          <p:cNvGrpSpPr>
            <a:grpSpLocks/>
          </p:cNvGrpSpPr>
          <p:nvPr userDrawn="1"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8" name="Овал 10"/>
            <p:cNvSpPr>
              <a:spLocks noChangeAspect="1"/>
            </p:cNvSpPr>
            <p:nvPr userDrawn="1"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4" descr="LOGO_SAS7_small"/>
            <p:cNvPicPr>
              <a:picLocks noChangeAspect="1" noChangeArrowheads="1"/>
            </p:cNvPicPr>
            <p:nvPr/>
          </p:nvPicPr>
          <p:blipFill>
            <a:blip r:embed="rId2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58088" y="1535113"/>
            <a:ext cx="493169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58088" y="2174875"/>
            <a:ext cx="493169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669997" y="1535113"/>
            <a:ext cx="493363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669997" y="2174875"/>
            <a:ext cx="493363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316C458-810E-476D-B541-675BF144A580}" type="datetime1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11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Докладчик: Опекунов Виктор Семёнович</a:t>
            </a:r>
            <a:endParaRPr lang="ru-RU" dirty="0"/>
          </a:p>
        </p:txBody>
      </p:sp>
      <p:sp>
        <p:nvSpPr>
          <p:cNvPr id="12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CA8E110-392E-44CA-8F66-0FC716B5FAD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635B81A5-5EC6-458C-9752-8A11501AE35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C56A2CD3-E744-48EE-A077-D9D136E73FA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8086" y="273050"/>
            <a:ext cx="3672127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363921" y="273054"/>
            <a:ext cx="623970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58086" y="1435103"/>
            <a:ext cx="3672127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96561185-CD47-45B2-89CD-97C901F77A8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87774" y="4800600"/>
            <a:ext cx="6697028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187774" y="612775"/>
            <a:ext cx="6697028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187774" y="5367338"/>
            <a:ext cx="669702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BD561B22-1079-4CF7-AB83-AD3FDAA78AE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CB6174BD-7620-442E-A43B-EF4E10FF574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86030" y="0"/>
            <a:ext cx="2569519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71658" y="0"/>
            <a:ext cx="7528342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79BB20BB-CC1F-4871-B7A8-E9C37902C39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8438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8438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8322" y="533212"/>
            <a:ext cx="10837439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b"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85783DAA-53C5-4E8E-9395-00A0697210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8438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8438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8322" y="533212"/>
            <a:ext cx="10837439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b"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BC8ADE47-9765-4506-9BE7-56051DB56D3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8438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8438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8322" y="533210"/>
            <a:ext cx="10837439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b"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/>
            </a:lvl1pPr>
          </a:lstStyle>
          <a:p>
            <a:pPr>
              <a:defRPr/>
            </a:pPr>
            <a:fld id="{AECDF39C-EA20-4FFA-AD84-71C40AF317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8086" y="363538"/>
            <a:ext cx="10045542" cy="42703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58086" y="1600200"/>
            <a:ext cx="10045542" cy="2168525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58800" y="6245225"/>
            <a:ext cx="26035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813175" y="6245225"/>
            <a:ext cx="3535363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solidFill>
                  <a:srgbClr val="414142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US"/>
              <a:t>www.ibrae.ac.ru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56625" y="6526213"/>
            <a:ext cx="2605088" cy="287337"/>
          </a:xfrm>
        </p:spPr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A0743AC7-1D91-42D3-A804-783EEBD1193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5"/>
          <p:cNvGrpSpPr>
            <a:grpSpLocks/>
          </p:cNvGrpSpPr>
          <p:nvPr userDrawn="1"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4" name="Овал 6"/>
            <p:cNvSpPr>
              <a:spLocks noChangeAspect="1"/>
            </p:cNvSpPr>
            <p:nvPr userDrawn="1"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5" name="Picture 4" descr="LOGO_SAS7_small"/>
            <p:cNvPicPr>
              <a:picLocks noChangeAspect="1" noChangeArrowheads="1"/>
            </p:cNvPicPr>
            <p:nvPr/>
          </p:nvPicPr>
          <p:blipFill>
            <a:blip r:embed="rId2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C6636C9-C3D5-43B1-B8AD-93A28F766E96}" type="datetime1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7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Докладчик: Опекунов Виктор Семёнович</a:t>
            </a:r>
            <a:endParaRPr lang="ru-RU" dirty="0"/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CC147D8-6507-4C47-A57F-4CB03F53BBB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4"/>
          <p:cNvGrpSpPr>
            <a:grpSpLocks/>
          </p:cNvGrpSpPr>
          <p:nvPr userDrawn="1"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3" name="Овал 5"/>
            <p:cNvSpPr>
              <a:spLocks noChangeAspect="1"/>
            </p:cNvSpPr>
            <p:nvPr userDrawn="1"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4" name="Picture 4" descr="LOGO_SAS7_small"/>
            <p:cNvPicPr>
              <a:picLocks noChangeAspect="1" noChangeArrowheads="1"/>
            </p:cNvPicPr>
            <p:nvPr/>
          </p:nvPicPr>
          <p:blipFill>
            <a:blip r:embed="rId2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28FBD12-76A3-4AA5-BD79-82B0638F30F2}" type="datetime1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Докладчик: Опекунов Виктор Семёнович</a:t>
            </a:r>
            <a:endParaRPr lang="ru-RU" dirty="0"/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23F4C67-5509-467A-91E9-5B65AB21A11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7"/>
          <p:cNvGrpSpPr>
            <a:grpSpLocks/>
          </p:cNvGrpSpPr>
          <p:nvPr userDrawn="1"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6" name="Овал 8"/>
            <p:cNvSpPr>
              <a:spLocks noChangeAspect="1"/>
            </p:cNvSpPr>
            <p:nvPr userDrawn="1"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7" name="Picture 4" descr="LOGO_SAS7_small"/>
            <p:cNvPicPr>
              <a:picLocks noChangeAspect="1" noChangeArrowheads="1"/>
            </p:cNvPicPr>
            <p:nvPr/>
          </p:nvPicPr>
          <p:blipFill>
            <a:blip r:embed="rId2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8093" y="273050"/>
            <a:ext cx="3672127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363920" y="273057"/>
            <a:ext cx="623970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58093" y="1435103"/>
            <a:ext cx="3672127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CDAB808-9653-490A-A0AC-C5F390B8FC07}" type="datetime1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9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Докладчик: Опекунов Виктор Семёнович</a:t>
            </a:r>
            <a:endParaRPr lang="ru-RU" dirty="0"/>
          </a:p>
        </p:txBody>
      </p:sp>
      <p:sp>
        <p:nvSpPr>
          <p:cNvPr id="10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B41D5FC-6C7E-43F8-B75C-1981B5E0D6B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7"/>
          <p:cNvGrpSpPr>
            <a:grpSpLocks/>
          </p:cNvGrpSpPr>
          <p:nvPr userDrawn="1"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6" name="Овал 8"/>
            <p:cNvSpPr>
              <a:spLocks noChangeAspect="1"/>
            </p:cNvSpPr>
            <p:nvPr userDrawn="1"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7" name="Picture 4" descr="LOGO_SAS7_small"/>
            <p:cNvPicPr>
              <a:picLocks noChangeAspect="1" noChangeArrowheads="1"/>
            </p:cNvPicPr>
            <p:nvPr/>
          </p:nvPicPr>
          <p:blipFill>
            <a:blip r:embed="rId2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87774" y="4800600"/>
            <a:ext cx="6697028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187774" y="612775"/>
            <a:ext cx="6697028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187774" y="5367338"/>
            <a:ext cx="669702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CD6EB35-3486-4B44-A68B-F0E509EB9CB8}" type="datetime1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9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Докладчик: Опекунов Виктор Семёнович</a:t>
            </a:r>
            <a:endParaRPr lang="ru-RU" dirty="0"/>
          </a:p>
        </p:txBody>
      </p:sp>
      <p:sp>
        <p:nvSpPr>
          <p:cNvPr id="10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E1F8268-B44F-492D-8F04-3D3718B1C23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0.xml"/><Relationship Id="rId16" Type="http://schemas.openxmlformats.org/officeDocument/2006/relationships/theme" Target="../theme/theme2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46.xml"/><Relationship Id="rId16" Type="http://schemas.openxmlformats.org/officeDocument/2006/relationships/theme" Target="../theme/theme4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Заголовок 1"/>
          <p:cNvSpPr>
            <a:spLocks noGrp="1"/>
          </p:cNvSpPr>
          <p:nvPr>
            <p:ph type="title"/>
          </p:nvPr>
        </p:nvSpPr>
        <p:spPr bwMode="auto">
          <a:xfrm>
            <a:off x="558800" y="274638"/>
            <a:ext cx="1004411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3795" name="Текст 2"/>
          <p:cNvSpPr>
            <a:spLocks noGrp="1"/>
          </p:cNvSpPr>
          <p:nvPr>
            <p:ph type="body" idx="1"/>
          </p:nvPr>
        </p:nvSpPr>
        <p:spPr bwMode="auto">
          <a:xfrm>
            <a:off x="558800" y="1600200"/>
            <a:ext cx="1004411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58800" y="6356350"/>
            <a:ext cx="26035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E4E9EF">
                    <a:shade val="50000"/>
                  </a:srgbClr>
                </a:solidFill>
                <a:latin typeface="Arial"/>
                <a:cs typeface="Arial" pitchFamily="34" charset="0"/>
              </a:defRPr>
            </a:lvl1pPr>
          </a:lstStyle>
          <a:p>
            <a:pPr>
              <a:defRPr/>
            </a:pPr>
            <a:fld id="{67B1394D-229E-4658-9FBA-C85CAA13A08F}" type="datetime1">
              <a:rPr lang="ru-RU"/>
              <a:pPr>
                <a:defRPr/>
              </a:pPr>
              <a:t>26.07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813175" y="6356350"/>
            <a:ext cx="35353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E4E9EF">
                    <a:shade val="50000"/>
                  </a:srgbClr>
                </a:solidFill>
                <a:latin typeface="Arial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Докладчик: Опекунов Виктор Семёнович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999413" y="6356350"/>
            <a:ext cx="26035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prstClr val="white"/>
                </a:solidFill>
                <a:latin typeface="Arial"/>
                <a:cs typeface="Arial" pitchFamily="34" charset="0"/>
              </a:defRPr>
            </a:lvl1pPr>
          </a:lstStyle>
          <a:p>
            <a:pPr>
              <a:defRPr/>
            </a:pPr>
            <a:fld id="{A321DA42-21FE-480E-92EC-84D341AF026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082213" y="6448425"/>
            <a:ext cx="765175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b="1" smtClean="0">
                <a:solidFill>
                  <a:srgbClr val="00327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C429CF03-EDFE-4E21-8D8F-4FF4AD4A87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1500" y="1125538"/>
            <a:ext cx="10283825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71500" y="0"/>
            <a:ext cx="931703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20485" name="navigation8" descr="ujkm,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9772650" y="106363"/>
            <a:ext cx="108267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  <p:sldLayoutId id="2147483835" r:id="rId12"/>
    <p:sldLayoutId id="2147483836" r:id="rId13"/>
    <p:sldLayoutId id="2147483837" r:id="rId14"/>
    <p:sldLayoutId id="2147483838" r:id="rId15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9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0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082213" y="6448425"/>
            <a:ext cx="765175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0179B6FA-D9FF-4276-8BC0-4B167D449AE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1500" y="1125538"/>
            <a:ext cx="10283825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71500" y="0"/>
            <a:ext cx="931703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39941" name="navigation8" descr="ujkm,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9772650" y="106363"/>
            <a:ext cx="108267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082213" y="6448425"/>
            <a:ext cx="765175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b="1" smtClean="0">
                <a:solidFill>
                  <a:srgbClr val="00327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2122BB7-BBE8-480D-B53C-EFF216F88C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22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1500" y="1125538"/>
            <a:ext cx="10283825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522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71500" y="0"/>
            <a:ext cx="931703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52229" name="navigation8" descr="ujkm,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9772650" y="106363"/>
            <a:ext cx="108267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1" r:id="rId12"/>
    <p:sldLayoutId id="2147483862" r:id="rId13"/>
    <p:sldLayoutId id="2147483863" r:id="rId14"/>
    <p:sldLayoutId id="2147483864" r:id="rId15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9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0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.png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151313" y="2428875"/>
            <a:ext cx="6859587" cy="2757488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ru-RU" sz="2800" b="0" dirty="0" smtClean="0"/>
              <a:t>Вопрос 3. «О р</a:t>
            </a:r>
            <a:r>
              <a:rPr lang="ru-RU" sz="2800" dirty="0" smtClean="0"/>
              <a:t>азвитии </a:t>
            </a:r>
            <a:r>
              <a:rPr lang="ru-RU" sz="2800" dirty="0"/>
              <a:t>образовательного проекта </a:t>
            </a:r>
            <a:r>
              <a:rPr lang="ru-RU" sz="2800" dirty="0" smtClean="0"/>
              <a:t>СРО атомной отрасли в </a:t>
            </a:r>
            <a:r>
              <a:rPr lang="ru-RU" sz="2800" dirty="0"/>
              <a:t>рамках </a:t>
            </a:r>
            <a:r>
              <a:rPr lang="ru-RU" sz="2800" dirty="0" smtClean="0"/>
              <a:t>обеспечения реализации </a:t>
            </a:r>
            <a:r>
              <a:rPr lang="ru-RU" sz="2800" dirty="0"/>
              <a:t>ФЦП «Обеспечение ядерной и радиационной безопасности на 2016-2020 годы и на период до 2030 года</a:t>
            </a:r>
            <a:r>
              <a:rPr lang="ru-RU" sz="2800" dirty="0" smtClean="0"/>
              <a:t>»</a:t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endParaRPr lang="ru-RU" sz="2800" b="0" dirty="0"/>
          </a:p>
        </p:txBody>
      </p:sp>
      <p:sp>
        <p:nvSpPr>
          <p:cNvPr id="5" name="Подзаголовок 3"/>
          <p:cNvSpPr txBox="1">
            <a:spLocks/>
          </p:cNvSpPr>
          <p:nvPr/>
        </p:nvSpPr>
        <p:spPr>
          <a:xfrm>
            <a:off x="150813" y="1289050"/>
            <a:ext cx="3624262" cy="857250"/>
          </a:xfrm>
          <a:prstGeom prst="rect">
            <a:avLst/>
          </a:prstGeom>
        </p:spPr>
        <p:txBody>
          <a:bodyPr lIns="102971" tIns="0" rIns="51485" bIns="0" anchor="b">
            <a:normAutofit fontScale="70000" lnSpcReduction="20000"/>
          </a:bodyPr>
          <a:lstStyle/>
          <a:p>
            <a:pPr>
              <a:spcBef>
                <a:spcPct val="20000"/>
              </a:spcBef>
              <a:buClr>
                <a:srgbClr val="6076B4"/>
              </a:buClr>
              <a:buSzPct val="80000"/>
              <a:buFont typeface="Wingdings 2"/>
              <a:buNone/>
              <a:defRPr/>
            </a:pPr>
            <a:r>
              <a:rPr lang="ru-RU" sz="23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РО НП «СОЮЗАТОМГЕО»</a:t>
            </a:r>
          </a:p>
          <a:p>
            <a:pPr>
              <a:spcBef>
                <a:spcPct val="20000"/>
              </a:spcBef>
              <a:buClr>
                <a:srgbClr val="6076B4"/>
              </a:buClr>
              <a:buSzPct val="80000"/>
              <a:defRPr/>
            </a:pPr>
            <a:r>
              <a:rPr lang="ru-RU" sz="23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РО НП «СОЮЗАТОМСТРОЙ»</a:t>
            </a:r>
          </a:p>
          <a:p>
            <a:pPr>
              <a:spcBef>
                <a:spcPct val="20000"/>
              </a:spcBef>
              <a:buClr>
                <a:srgbClr val="6076B4"/>
              </a:buClr>
              <a:buSzPct val="80000"/>
              <a:defRPr/>
            </a:pPr>
            <a:r>
              <a:rPr lang="ru-RU" sz="23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РО НП «СОЮЗАТОМПРОЕКТ»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980230" y="1717192"/>
            <a:ext cx="7187412" cy="351829"/>
          </a:xfrm>
          <a:prstGeom prst="rect">
            <a:avLst/>
          </a:prstGeom>
          <a:gradFill flip="none" rotWithShape="1">
            <a:gsLst>
              <a:gs pos="61000">
                <a:srgbClr val="256697">
                  <a:lumMod val="90000"/>
                  <a:lumOff val="10000"/>
                </a:srgbClr>
              </a:gs>
              <a:gs pos="0">
                <a:srgbClr val="256697">
                  <a:lumMod val="100000"/>
                </a:srgbClr>
              </a:gs>
              <a:gs pos="100000">
                <a:srgbClr val="00B0F0">
                  <a:lumMod val="99000"/>
                </a:srgbClr>
              </a:gs>
            </a:gsLst>
            <a:lin ang="0" scaled="1"/>
            <a:tileRect/>
          </a:gradFill>
        </p:spPr>
        <p:txBody>
          <a:bodyPr lIns="0" tIns="36000" rIns="0" bIns="36000" anchor="ctr"/>
          <a:lstStyle/>
          <a:p>
            <a:pPr>
              <a:lnSpc>
                <a:spcPct val="80000"/>
              </a:lnSpc>
              <a:defRPr/>
            </a:pPr>
            <a:r>
              <a:rPr lang="ru-RU" sz="1600" kern="0" dirty="0">
                <a:solidFill>
                  <a:srgbClr val="2F5897">
                    <a:lumMod val="40000"/>
                    <a:lumOff val="60000"/>
                  </a:srgbClr>
                </a:solidFill>
              </a:rPr>
              <a:t>  </a:t>
            </a:r>
            <a:r>
              <a:rPr lang="ru-RU" sz="1600" kern="0" dirty="0">
                <a:solidFill>
                  <a:srgbClr val="2F5897">
                    <a:lumMod val="40000"/>
                    <a:lumOff val="60000"/>
                  </a:srgbClr>
                </a:solidFill>
                <a:effectLst>
                  <a:glow rad="63500">
                    <a:srgbClr val="3E87BD">
                      <a:satMod val="175000"/>
                      <a:alpha val="40000"/>
                    </a:srgbClr>
                  </a:glow>
                </a:effectLst>
              </a:rPr>
              <a:t>САМОРЕГУЛИРУЕМЫЕ ОРГАНИЗАЦИИ АТОМНОЙ ОТРАСЛИ</a:t>
            </a:r>
          </a:p>
        </p:txBody>
      </p:sp>
      <p:sp>
        <p:nvSpPr>
          <p:cNvPr id="8" name="Заголовок 3"/>
          <p:cNvSpPr txBox="1">
            <a:spLocks/>
          </p:cNvSpPr>
          <p:nvPr/>
        </p:nvSpPr>
        <p:spPr>
          <a:xfrm>
            <a:off x="5868988" y="5786438"/>
            <a:ext cx="5292725" cy="1071562"/>
          </a:xfrm>
          <a:prstGeom prst="rect">
            <a:avLst/>
          </a:prstGeom>
        </p:spPr>
        <p:txBody>
          <a:bodyPr lIns="0" tIns="0" rIns="0" bIns="0"/>
          <a:lstStyle>
            <a:lvl1pPr algn="l" rtl="0" eaLnBrk="1" latinLnBrk="0" hangingPunct="1">
              <a:spcBef>
                <a:spcPct val="0"/>
              </a:spcBef>
              <a:buNone/>
              <a:defRPr kumimoji="0" sz="3600" b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2000" dirty="0" smtClean="0"/>
              <a:t>22  июля 2016 года                                                         Москва</a:t>
            </a:r>
          </a:p>
          <a:p>
            <a:pPr algn="ctr">
              <a:defRPr/>
            </a:pPr>
            <a:endParaRPr lang="ru-RU" sz="2000" dirty="0"/>
          </a:p>
          <a:p>
            <a:pPr algn="ctr">
              <a:defRPr/>
            </a:pPr>
            <a:endParaRPr lang="ru-RU" sz="2000" dirty="0"/>
          </a:p>
        </p:txBody>
      </p:sp>
      <p:sp>
        <p:nvSpPr>
          <p:cNvPr id="9" name="Овал 8"/>
          <p:cNvSpPr>
            <a:spLocks noChangeAspect="1"/>
          </p:cNvSpPr>
          <p:nvPr/>
        </p:nvSpPr>
        <p:spPr>
          <a:xfrm>
            <a:off x="242888" y="2894013"/>
            <a:ext cx="3698875" cy="3698875"/>
          </a:xfrm>
          <a:prstGeom prst="ellipse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Picture L" descr="C:\Documents and Settings\Администратор\Рабочий стол\FROM BESKRAYNIY\znak_prosto_6.png"/>
          <p:cNvPicPr preferRelativeResize="0"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42888" y="2862263"/>
            <a:ext cx="3736975" cy="3749675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73735" name="Picture 2" descr="C:\Documents and Settings\Администратор\Рабочий стол\FROM BESKRAYNIY\LOGO_SAS7.png"/>
          <p:cNvPicPr preferRelativeResize="0"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6375" y="2827338"/>
            <a:ext cx="3871913" cy="3883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3736" name="Группа 11"/>
          <p:cNvGrpSpPr>
            <a:grpSpLocks/>
          </p:cNvGrpSpPr>
          <p:nvPr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13" name="Овал 12"/>
            <p:cNvSpPr>
              <a:spLocks noChangeAspect="1"/>
            </p:cNvSpPr>
            <p:nvPr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73739" name="Picture 4" descr="LOGO_SAS7_small"/>
            <p:cNvPicPr>
              <a:picLocks noChangeAspect="1" noChangeArrowheads="1"/>
            </p:cNvPicPr>
            <p:nvPr/>
          </p:nvPicPr>
          <p:blipFill>
            <a:blip r:embed="rId5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3737" name="TextBox 1"/>
          <p:cNvSpPr txBox="1">
            <a:spLocks noChangeArrowheads="1"/>
          </p:cNvSpPr>
          <p:nvPr/>
        </p:nvSpPr>
        <p:spPr bwMode="auto">
          <a:xfrm>
            <a:off x="150813" y="142875"/>
            <a:ext cx="10574337" cy="144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800"/>
              <a:t>ЗАСЕДАНИЕ СОВЕТА </a:t>
            </a:r>
          </a:p>
          <a:p>
            <a:pPr algn="ctr"/>
            <a:r>
              <a:rPr lang="ru-RU" sz="2800"/>
              <a:t>СРО АТОМНОЙ ОТРАСЛИ</a:t>
            </a:r>
          </a:p>
          <a:p>
            <a:endParaRPr lang="ru-RU" sz="3200" b="1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6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3" name="Заголовок 1"/>
          <p:cNvSpPr>
            <a:spLocks noGrp="1"/>
          </p:cNvSpPr>
          <p:nvPr>
            <p:ph type="title"/>
          </p:nvPr>
        </p:nvSpPr>
        <p:spPr>
          <a:xfrm>
            <a:off x="912813" y="117475"/>
            <a:ext cx="8988425" cy="738188"/>
          </a:xfrm>
        </p:spPr>
        <p:txBody>
          <a:bodyPr/>
          <a:lstStyle/>
          <a:p>
            <a:r>
              <a:rPr lang="ru-RU" sz="2000" smtClean="0">
                <a:latin typeface="Times New Roman" pitchFamily="18" charset="0"/>
                <a:cs typeface="Times New Roman" pitchFamily="18" charset="0"/>
              </a:rPr>
              <a:t>Предложения по разработке новых программ ДПО по тематике                       «Ядерная и радиационная безопасность» (продолжение)</a:t>
            </a:r>
            <a:br>
              <a:rPr lang="ru-RU" sz="2000" smtClean="0">
                <a:latin typeface="Times New Roman" pitchFamily="18" charset="0"/>
                <a:cs typeface="Times New Roman" pitchFamily="18" charset="0"/>
              </a:rPr>
            </a:br>
            <a:endParaRPr lang="ru-RU" sz="200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0114" name="Номер слайда 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7A0F7E4C-53FD-4C3A-85E6-0C608FAA9667}" type="slidenum">
              <a:rPr lang="ru-RU">
                <a:solidFill>
                  <a:srgbClr val="FFFFFF"/>
                </a:solidFill>
              </a:rPr>
              <a:pPr/>
              <a:t>10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293688" y="642938"/>
            <a:ext cx="9759950" cy="252412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fontAlgn="auto">
              <a:lnSpc>
                <a:spcPct val="80000"/>
              </a:lnSpc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bg2">
                    <a:lumMod val="75000"/>
                  </a:schemeClr>
                </a:solidFill>
                <a:latin typeface="+mn-lt"/>
                <a:ea typeface="+mj-ea"/>
                <a:cs typeface="+mj-cs"/>
              </a:rPr>
              <a:t>Специализированные программы по тематике  «Обращение с РАО»</a:t>
            </a:r>
          </a:p>
        </p:txBody>
      </p:sp>
      <p:graphicFrame>
        <p:nvGraphicFramePr>
          <p:cNvPr id="90146" name="Group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2691838"/>
              </p:ext>
            </p:extLst>
          </p:nvPr>
        </p:nvGraphicFramePr>
        <p:xfrm>
          <a:off x="150813" y="928688"/>
          <a:ext cx="10717212" cy="6016816"/>
        </p:xfrm>
        <a:graphic>
          <a:graphicData uri="http://schemas.openxmlformats.org/drawingml/2006/table">
            <a:tbl>
              <a:tblPr/>
              <a:tblGrid>
                <a:gridCol w="579437"/>
                <a:gridCol w="6030913"/>
                <a:gridCol w="4106862"/>
              </a:tblGrid>
              <a:tr h="5254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№№</a:t>
                      </a: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/п</a:t>
                      </a: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Наименование предлагаемых программ</a:t>
                      </a: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Организации  (слушатели курсов)</a:t>
                      </a: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1143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овременное состояние с обращением с РАО (жидкими, твердыми и газообразными) на действующих АЭС. Новые технологии, проекты и оборудование для обращения с РАО от эксплуатации  АЭС</a:t>
                      </a: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Организации-участники мероприятий</a:t>
                      </a: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13144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2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овременное состояние с обращением с РАО (жидкими, твердыми и газообразными) на действующих предприятиях 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организаций-участники мероприятий.  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Новые технологии, проекты  и оборудование для обращения с РАО  от эксплуатации объектов по добыче и переработке урана и сопутствующих природных элементов</a:t>
                      </a: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Организации-участники мероприятий</a:t>
                      </a: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1473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3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овременное состояние с обращением с РАО (жидкими, твердыми и газообразными) на действующих предприятиях 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организаций-участники мероприятий. Новые 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технологии, проекты  и оборудование для обращения с РАО  от эксплуатации объектов по 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роизводству 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ядерного 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топлива.</a:t>
                      </a: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Организации-участники мероприятий</a:t>
                      </a: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13144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овременное состояние с обращением с РАО (жидкими, твердыми и газообразными) на действующих предприятиях по централизованному хранению, транспортированию  и переработке ОЯТ. Новые технологии, проекты  и оборудование для обращения с 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РАО</a:t>
                      </a: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Организации-участники мероприятий</a:t>
                      </a: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grpSp>
        <p:nvGrpSpPr>
          <p:cNvPr id="90142" name="Группа 11"/>
          <p:cNvGrpSpPr>
            <a:grpSpLocks/>
          </p:cNvGrpSpPr>
          <p:nvPr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7" name="Овал 6"/>
            <p:cNvSpPr>
              <a:spLocks noChangeAspect="1"/>
            </p:cNvSpPr>
            <p:nvPr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90144" name="Picture 4" descr="LOGO_SAS7_small"/>
            <p:cNvPicPr>
              <a:picLocks noChangeAspect="1" noChangeArrowheads="1"/>
            </p:cNvPicPr>
            <p:nvPr/>
          </p:nvPicPr>
          <p:blipFill>
            <a:blip r:embed="rId2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7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7939088" y="6492875"/>
            <a:ext cx="3071812" cy="36512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2D9D70C5-CF42-4AF5-9EE3-94A15C8E5460}" type="slidenum">
              <a:rPr lang="ru-RU">
                <a:solidFill>
                  <a:srgbClr val="FFFFFF"/>
                </a:solidFill>
              </a:rPr>
              <a:pPr/>
              <a:t>11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93688" y="714375"/>
            <a:ext cx="4214812" cy="785813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Формирование программного комплекса по направлению ЯРБ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080000" y="1643063"/>
            <a:ext cx="5216525" cy="64293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</a:rPr>
              <a:t>ПОС (ПСД) строительства, реконструкции, вывода из эксплуатации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93688" y="1844675"/>
            <a:ext cx="1857375" cy="757238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Перечень видов работ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592568" y="1847104"/>
            <a:ext cx="1928826" cy="75549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2000" b="1" dirty="0">
                <a:solidFill>
                  <a:schemeClr val="bg1"/>
                </a:solidFill>
              </a:rPr>
              <a:t>ПОС  и  ПСД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080000" y="714375"/>
            <a:ext cx="5145088" cy="785813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Дорожная карта организации системы подготовки, повышения и поддержания квалификационного уровня персонала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93688" y="2892425"/>
            <a:ext cx="4286250" cy="140017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</a:rPr>
              <a:t>Категории персонала -                                 участников  строительства, реконструкции, вывода из эксплуатации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07975" y="4537075"/>
            <a:ext cx="4286250" cy="100012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</a:rPr>
              <a:t>Разработка программ ДПО (повышение квалификации) по направлению ЯРБ)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080000" y="2428875"/>
            <a:ext cx="5216525" cy="7143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</a:rPr>
              <a:t>График движения персонала                               (по категориям персонала и видам  работ)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5080000" y="3286125"/>
            <a:ext cx="5216525" cy="50006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</a:rPr>
              <a:t>Анализ потребности в обучени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5151438" y="3929063"/>
            <a:ext cx="5145087" cy="121443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</a:rPr>
              <a:t>Организация обучения (планирование учебных потоков, формирование графика обучения, оформление заявок)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5151438" y="5286375"/>
            <a:ext cx="5145087" cy="92868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</a:rPr>
              <a:t>Проведение обучения (формирование групп слушателей, проведение курсов в учебных учреждениях)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151438" y="6357938"/>
            <a:ext cx="5145087" cy="35718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</a:rPr>
              <a:t>Анализ эффективности обучения</a:t>
            </a:r>
          </a:p>
        </p:txBody>
      </p:sp>
      <p:sp>
        <p:nvSpPr>
          <p:cNvPr id="91152" name="Заголовок 1"/>
          <p:cNvSpPr>
            <a:spLocks noGrp="1"/>
          </p:cNvSpPr>
          <p:nvPr>
            <p:ph type="title"/>
          </p:nvPr>
        </p:nvSpPr>
        <p:spPr>
          <a:xfrm>
            <a:off x="293688" y="117475"/>
            <a:ext cx="10145712" cy="525463"/>
          </a:xfrm>
        </p:spPr>
        <p:txBody>
          <a:bodyPr/>
          <a:lstStyle/>
          <a:p>
            <a:r>
              <a:rPr lang="ru-RU" sz="2000" b="1" smtClean="0"/>
              <a:t>Порядок организации системы подготовки, повышения и поддержания квалификационного уровня персонала по направлению ЯРБ</a:t>
            </a:r>
            <a:endParaRPr lang="ru-RU" sz="2000" b="1" smtClean="0">
              <a:solidFill>
                <a:srgbClr val="002060"/>
              </a:solidFill>
            </a:endParaRPr>
          </a:p>
        </p:txBody>
      </p:sp>
      <p:cxnSp>
        <p:nvCxnSpPr>
          <p:cNvPr id="25" name="Прямая со стрелкой 24"/>
          <p:cNvCxnSpPr>
            <a:stCxn id="6" idx="3"/>
          </p:cNvCxnSpPr>
          <p:nvPr/>
        </p:nvCxnSpPr>
        <p:spPr>
          <a:xfrm>
            <a:off x="2151063" y="2224088"/>
            <a:ext cx="433387" cy="0"/>
          </a:xfrm>
          <a:prstGeom prst="straightConnector1">
            <a:avLst/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>
            <a:off x="2438400" y="4368800"/>
            <a:ext cx="0" cy="244475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 стрелкой 70"/>
          <p:cNvCxnSpPr/>
          <p:nvPr/>
        </p:nvCxnSpPr>
        <p:spPr>
          <a:xfrm rot="5400000">
            <a:off x="7546975" y="3249613"/>
            <a:ext cx="214313" cy="1587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 стрелкой 73"/>
          <p:cNvCxnSpPr/>
          <p:nvPr/>
        </p:nvCxnSpPr>
        <p:spPr>
          <a:xfrm rot="5400000">
            <a:off x="7546975" y="2392363"/>
            <a:ext cx="214313" cy="1587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 стрелкой 74"/>
          <p:cNvCxnSpPr/>
          <p:nvPr/>
        </p:nvCxnSpPr>
        <p:spPr>
          <a:xfrm rot="5400000">
            <a:off x="7546976" y="3892550"/>
            <a:ext cx="214312" cy="1587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/>
          <p:cNvCxnSpPr/>
          <p:nvPr/>
        </p:nvCxnSpPr>
        <p:spPr>
          <a:xfrm rot="5400000">
            <a:off x="7546976" y="1606550"/>
            <a:ext cx="214312" cy="1587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 стрелкой 76"/>
          <p:cNvCxnSpPr/>
          <p:nvPr/>
        </p:nvCxnSpPr>
        <p:spPr>
          <a:xfrm rot="5400000">
            <a:off x="7546975" y="5249863"/>
            <a:ext cx="214313" cy="1587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 стрелкой 77"/>
          <p:cNvCxnSpPr/>
          <p:nvPr/>
        </p:nvCxnSpPr>
        <p:spPr>
          <a:xfrm rot="5400000">
            <a:off x="7546975" y="6249988"/>
            <a:ext cx="214313" cy="1587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Соединительная линия уступом 84"/>
          <p:cNvCxnSpPr/>
          <p:nvPr/>
        </p:nvCxnSpPr>
        <p:spPr>
          <a:xfrm rot="10800000">
            <a:off x="1044575" y="2678113"/>
            <a:ext cx="2786063" cy="1587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 стрелкой 92"/>
          <p:cNvCxnSpPr/>
          <p:nvPr/>
        </p:nvCxnSpPr>
        <p:spPr>
          <a:xfrm rot="5400000">
            <a:off x="2293938" y="2784475"/>
            <a:ext cx="214312" cy="1588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/>
        </p:nvSpPr>
        <p:spPr>
          <a:xfrm>
            <a:off x="295275" y="5876925"/>
            <a:ext cx="4286250" cy="72072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</a:rPr>
              <a:t>ПРОГРАММНЫЙ КОМПЛЕКС </a:t>
            </a:r>
          </a:p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</a:rPr>
              <a:t>СРО атомной отрасли</a:t>
            </a:r>
          </a:p>
        </p:txBody>
      </p:sp>
      <p:cxnSp>
        <p:nvCxnSpPr>
          <p:cNvPr id="39" name="Прямая со стрелкой 38"/>
          <p:cNvCxnSpPr/>
          <p:nvPr/>
        </p:nvCxnSpPr>
        <p:spPr>
          <a:xfrm rot="5400000">
            <a:off x="2260600" y="5643563"/>
            <a:ext cx="214313" cy="1587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кругленный прямоугольник 39"/>
          <p:cNvSpPr/>
          <p:nvPr/>
        </p:nvSpPr>
        <p:spPr>
          <a:xfrm>
            <a:off x="293688" y="5805488"/>
            <a:ext cx="4286250" cy="83820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</a:rPr>
              <a:t>ПРОГРАММНЫЙ КОМПЛЕКС </a:t>
            </a:r>
          </a:p>
          <a:p>
            <a:pPr algn="ctr">
              <a:defRPr/>
            </a:pPr>
            <a:r>
              <a:rPr lang="ru-RU" sz="2000" dirty="0">
                <a:solidFill>
                  <a:schemeClr val="bg1"/>
                </a:solidFill>
              </a:rPr>
              <a:t>СРО атомной отрасли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1" name="Заголовок 3"/>
          <p:cNvSpPr>
            <a:spLocks noGrp="1"/>
          </p:cNvSpPr>
          <p:nvPr>
            <p:ph type="title"/>
          </p:nvPr>
        </p:nvSpPr>
        <p:spPr>
          <a:xfrm>
            <a:off x="150813" y="142875"/>
            <a:ext cx="9902825" cy="285750"/>
          </a:xfrm>
        </p:spPr>
        <p:txBody>
          <a:bodyPr/>
          <a:lstStyle/>
          <a:p>
            <a:r>
              <a:rPr lang="ru-RU" sz="2000" smtClean="0">
                <a:latin typeface="Times New Roman" pitchFamily="18" charset="0"/>
                <a:cs typeface="Times New Roman" pitchFamily="18" charset="0"/>
              </a:rPr>
              <a:t>Участники реализации образовательного проекта по тематике ЯРБ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50813" y="857250"/>
            <a:ext cx="3286125" cy="3571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normAutofit/>
          </a:bodyPr>
          <a:lstStyle/>
          <a:p>
            <a:pPr algn="ctr">
              <a:defRPr/>
            </a:pP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РО НП «СОЮЗАТОМГЕО»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0082213" y="6492875"/>
            <a:ext cx="928687" cy="365125"/>
          </a:xfrm>
        </p:spPr>
        <p:txBody>
          <a:bodyPr/>
          <a:lstStyle/>
          <a:p>
            <a:pPr>
              <a:defRPr/>
            </a:pPr>
            <a:fld id="{CECEC5B2-2B13-43FC-92E4-F9ACF50B0CA0}" type="slidenum">
              <a:rPr lang="ru-RU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pPr>
                <a:defRPr/>
              </a:pPr>
              <a:t>12</a:t>
            </a:fld>
            <a:endParaRPr lang="ru-RU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50813" y="1571625"/>
            <a:ext cx="3286125" cy="3571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normAutofit/>
          </a:bodyPr>
          <a:lstStyle/>
          <a:p>
            <a:pPr algn="ctr">
              <a:defRPr/>
            </a:pP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РО НП «СОЮЗАТОМСТРОЙ»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50813" y="1214438"/>
            <a:ext cx="3286125" cy="3571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normAutofit/>
          </a:bodyPr>
          <a:lstStyle/>
          <a:p>
            <a:pPr algn="ctr">
              <a:defRPr/>
            </a:pP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РО НП «СОЮЗАТОМПРОЕКТ»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6" name="Выноска со стрелками влево/вправо 45"/>
          <p:cNvSpPr/>
          <p:nvPr/>
        </p:nvSpPr>
        <p:spPr>
          <a:xfrm>
            <a:off x="6367463" y="714375"/>
            <a:ext cx="285750" cy="5786438"/>
          </a:xfrm>
          <a:prstGeom prst="leftRightArrowCallout">
            <a:avLst>
              <a:gd name="adj1" fmla="val 0"/>
              <a:gd name="adj2" fmla="val 0"/>
              <a:gd name="adj3" fmla="val 28368"/>
              <a:gd name="adj4" fmla="val 25298"/>
            </a:avLst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47" name="Стрелка вправо 46"/>
          <p:cNvSpPr/>
          <p:nvPr/>
        </p:nvSpPr>
        <p:spPr>
          <a:xfrm>
            <a:off x="3436938" y="2857500"/>
            <a:ext cx="192087" cy="214313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50" name="Стрелка вправо 49"/>
          <p:cNvSpPr/>
          <p:nvPr/>
        </p:nvSpPr>
        <p:spPr>
          <a:xfrm>
            <a:off x="3436938" y="1285875"/>
            <a:ext cx="192087" cy="214313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34" name="Стрелка вправо 33"/>
          <p:cNvSpPr/>
          <p:nvPr/>
        </p:nvSpPr>
        <p:spPr>
          <a:xfrm>
            <a:off x="3722688" y="1928813"/>
            <a:ext cx="214312" cy="214312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35" name="Овал 34"/>
          <p:cNvSpPr/>
          <p:nvPr/>
        </p:nvSpPr>
        <p:spPr>
          <a:xfrm>
            <a:off x="3937000" y="642938"/>
            <a:ext cx="2359025" cy="27860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вместная разработка программ ДПО повышения квалификации, на основании ПОС (ПСД) и графиков движения персонала</a:t>
            </a: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6724650" y="785813"/>
            <a:ext cx="4286250" cy="71437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kern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рганизации – участники мероприятий   ФЦП-2, подведомственные ГК «Росатом»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150813" y="571500"/>
            <a:ext cx="3357562" cy="2857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kern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рганизатор  проекта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150813" y="2500313"/>
            <a:ext cx="3286125" cy="4286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normAutofit fontScale="85000" lnSpcReduction="20000"/>
          </a:bodyPr>
          <a:lstStyle/>
          <a:p>
            <a:pPr algn="ctr">
              <a:defRPr/>
            </a:pPr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Экспертное сообщество СРОАО,       Комитет по образованию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8" name="Скругленный прямоугольник 77"/>
          <p:cNvSpPr/>
          <p:nvPr/>
        </p:nvSpPr>
        <p:spPr>
          <a:xfrm>
            <a:off x="7510463" y="1500188"/>
            <a:ext cx="2928937" cy="357187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 т. ч.: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6653213" y="1857375"/>
            <a:ext cx="4150255" cy="1071563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200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ИИ: </a:t>
            </a:r>
          </a:p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 перечню  участников мероприятий  </a:t>
            </a:r>
            <a:endParaRPr 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6722718" y="3036093"/>
            <a:ext cx="4080750" cy="714375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Б и заводы изготовители:                                               </a:t>
            </a: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 перечню  участников мероприятий  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6653213" y="4000500"/>
            <a:ext cx="4150255" cy="121443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Эксплуатирующие организации: </a:t>
            </a:r>
          </a:p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 перечню  участников мероприятий  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6690678" y="5357813"/>
            <a:ext cx="4112790" cy="1357312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400" b="1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пециализированные организации, участвующие в реализации программы:</a:t>
            </a:r>
          </a:p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 перечню  участников мероприятий  </a:t>
            </a:r>
          </a:p>
          <a:p>
            <a:pPr>
              <a:defRPr/>
            </a:pPr>
            <a:endParaRPr lang="ru-RU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33" name="Схема 32"/>
          <p:cNvGraphicFramePr/>
          <p:nvPr/>
        </p:nvGraphicFramePr>
        <p:xfrm>
          <a:off x="151568" y="3500438"/>
          <a:ext cx="6143668" cy="1643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6" name="Схема 35"/>
          <p:cNvGraphicFramePr/>
          <p:nvPr>
            <p:extLst>
              <p:ext uri="{D42A27DB-BD31-4B8C-83A1-F6EECF244321}">
                <p14:modId xmlns:p14="http://schemas.microsoft.com/office/powerpoint/2010/main" val="3798459401"/>
              </p:ext>
            </p:extLst>
          </p:nvPr>
        </p:nvGraphicFramePr>
        <p:xfrm>
          <a:off x="151568" y="5214950"/>
          <a:ext cx="6143668" cy="1643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150813" y="2928938"/>
            <a:ext cx="3286125" cy="571500"/>
          </a:xfrm>
          <a:prstGeom prst="rect">
            <a:avLst/>
          </a:prstGeom>
          <a:solidFill>
            <a:srgbClr val="0070C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normAutofit/>
          </a:bodyPr>
          <a:lstStyle/>
          <a:p>
            <a:pPr algn="ctr">
              <a:defRPr/>
            </a:pPr>
            <a:r>
              <a:rPr lang="ru-RU" sz="16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разовательное учреждение              НОУ ДПО «УЦПР»</a:t>
            </a:r>
          </a:p>
        </p:txBody>
      </p:sp>
      <p:sp>
        <p:nvSpPr>
          <p:cNvPr id="29" name="Выноска со стрелками влево/вправо 28"/>
          <p:cNvSpPr/>
          <p:nvPr/>
        </p:nvSpPr>
        <p:spPr>
          <a:xfrm>
            <a:off x="3508375" y="642938"/>
            <a:ext cx="285750" cy="2928937"/>
          </a:xfrm>
          <a:prstGeom prst="leftRightArrowCallout">
            <a:avLst>
              <a:gd name="adj1" fmla="val 0"/>
              <a:gd name="adj2" fmla="val 0"/>
              <a:gd name="adj3" fmla="val 28368"/>
              <a:gd name="adj4" fmla="val 25298"/>
            </a:avLst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31" name="Стрелка влево 30"/>
          <p:cNvSpPr/>
          <p:nvPr/>
        </p:nvSpPr>
        <p:spPr>
          <a:xfrm>
            <a:off x="6438900" y="2286000"/>
            <a:ext cx="214313" cy="214313"/>
          </a:xfrm>
          <a:prstGeom prst="lef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37" name="Стрелка вправо 36"/>
          <p:cNvSpPr/>
          <p:nvPr/>
        </p:nvSpPr>
        <p:spPr>
          <a:xfrm rot="10800000">
            <a:off x="6296025" y="1928813"/>
            <a:ext cx="214313" cy="214312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38" name="Стрелка влево 37"/>
          <p:cNvSpPr/>
          <p:nvPr/>
        </p:nvSpPr>
        <p:spPr>
          <a:xfrm>
            <a:off x="6510338" y="3286125"/>
            <a:ext cx="214312" cy="214313"/>
          </a:xfrm>
          <a:prstGeom prst="lef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39" name="Стрелка влево 38"/>
          <p:cNvSpPr/>
          <p:nvPr/>
        </p:nvSpPr>
        <p:spPr>
          <a:xfrm>
            <a:off x="6510338" y="1071563"/>
            <a:ext cx="214312" cy="214312"/>
          </a:xfrm>
          <a:prstGeom prst="lef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41" name="Стрелка влево 40"/>
          <p:cNvSpPr/>
          <p:nvPr/>
        </p:nvSpPr>
        <p:spPr>
          <a:xfrm>
            <a:off x="6510338" y="4500563"/>
            <a:ext cx="214312" cy="214312"/>
          </a:xfrm>
          <a:prstGeom prst="lef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150813" y="2143125"/>
            <a:ext cx="3357562" cy="3571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kern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полнители </a:t>
            </a:r>
            <a:r>
              <a:rPr lang="ru-RU" sz="1400" b="1" kern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екта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09" name="Заголовок 7"/>
          <p:cNvSpPr>
            <a:spLocks noGrp="1"/>
          </p:cNvSpPr>
          <p:nvPr>
            <p:ph type="title"/>
          </p:nvPr>
        </p:nvSpPr>
        <p:spPr>
          <a:xfrm>
            <a:off x="436563" y="142875"/>
            <a:ext cx="9717087" cy="714375"/>
          </a:xfrm>
        </p:spPr>
        <p:txBody>
          <a:bodyPr/>
          <a:lstStyle/>
          <a:p>
            <a:r>
              <a:rPr lang="ru-RU" sz="1800" b="1" smtClean="0">
                <a:latin typeface="Times New Roman" pitchFamily="18" charset="0"/>
                <a:cs typeface="Times New Roman" pitchFamily="18" charset="0"/>
              </a:rPr>
              <a:t>Предложение  по перечню профессий  (изыскания и проектирование) со специальной компетенцией для сооружения ОИАЭ, в т.ч. требующих разработки профессиональных стандартов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3813175" y="6356350"/>
            <a:ext cx="3535363" cy="365125"/>
          </a:xfrm>
        </p:spPr>
        <p:txBody>
          <a:bodyPr/>
          <a:lstStyle/>
          <a:p>
            <a:pPr algn="ctr">
              <a:defRPr/>
            </a:pPr>
            <a:fld id="{8B9C633E-A99D-4D0C-A399-BF28DBFC4155}" type="slidenum">
              <a:rPr lang="ru-RU">
                <a:solidFill>
                  <a:schemeClr val="tx1">
                    <a:tint val="75000"/>
                  </a:schemeClr>
                </a:solidFill>
              </a:rPr>
              <a:pPr algn="ctr">
                <a:defRPr/>
              </a:pPr>
              <a:t>13</a:t>
            </a:fld>
            <a:endParaRPr lang="ru-RU" dirty="0">
              <a:solidFill>
                <a:schemeClr val="tx1">
                  <a:tint val="75000"/>
                </a:schemeClr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23009" y="1000114"/>
          <a:ext cx="10644262" cy="5689283"/>
        </p:xfrm>
        <a:graphic>
          <a:graphicData uri="http://schemas.openxmlformats.org/drawingml/2006/table">
            <a:tbl>
              <a:tblPr/>
              <a:tblGrid>
                <a:gridCol w="3280767"/>
                <a:gridCol w="3134953"/>
                <a:gridCol w="1312306"/>
                <a:gridCol w="2916236"/>
              </a:tblGrid>
              <a:tr h="78581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latin typeface="Calibri"/>
                          <a:ea typeface="Calibri"/>
                          <a:cs typeface="Times New Roman"/>
                        </a:rPr>
                        <a:t>Направления работ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latin typeface="Calibri"/>
                          <a:ea typeface="Calibri"/>
                          <a:cs typeface="Times New Roman"/>
                        </a:rPr>
                        <a:t>Название </a:t>
                      </a:r>
                      <a:r>
                        <a:rPr lang="ru-RU" sz="1600" b="1" dirty="0" smtClean="0">
                          <a:latin typeface="Calibri"/>
                          <a:ea typeface="Calibri"/>
                          <a:cs typeface="Times New Roman"/>
                        </a:rPr>
                        <a:t>профессии ,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latin typeface="Calibri"/>
                          <a:ea typeface="Calibri"/>
                          <a:cs typeface="Times New Roman"/>
                        </a:rPr>
                        <a:t>Наименование профессионального  стандарта</a:t>
                      </a:r>
                      <a:endParaRPr lang="ru-RU" sz="16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latin typeface="Calibri"/>
                          <a:ea typeface="Calibri"/>
                          <a:cs typeface="Times New Roman"/>
                        </a:rPr>
                        <a:t>Шифр программы ДПО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latin typeface="Calibri"/>
                          <a:ea typeface="Calibri"/>
                          <a:cs typeface="Times New Roman"/>
                        </a:rPr>
                        <a:t>СТО </a:t>
                      </a:r>
                      <a:r>
                        <a:rPr lang="ru-RU" sz="1600" b="1" dirty="0" smtClean="0">
                          <a:latin typeface="Calibri"/>
                          <a:ea typeface="Calibri"/>
                          <a:cs typeface="Times New Roman"/>
                        </a:rPr>
                        <a:t> СРОАО</a:t>
                      </a:r>
                      <a:endParaRPr lang="ru-RU" sz="16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11653">
                <a:tc gridSpan="4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ИНЖЕНЕРНЫЕ ИЗЫСКАНИЯ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9225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Инженерно-геологические  (геотехнические) изыскания Обследование состояния грунтов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Инженер-изыскатель –сейсмолог (сейсмотектонист) ОИАЭ;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Инженер-изыскатель-геофизик ОИАЭ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ГЕО-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ТО 95 103-2013;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РО-Г 60542954 00005-2015;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ТО СРО-Г 60542954 00006-201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>
                        <a:lumMod val="95000"/>
                      </a:schemeClr>
                    </a:solidFill>
                  </a:tcPr>
                </a:tc>
              </a:tr>
              <a:tr h="78200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Инженерно-экологические изыскания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Инженер-изыскатель-геоэколог ОИАЭ;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Инженер-изыскатель-геофизик по ядерным методам ОИАЭ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ГЕО-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ТО 95 102-201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</a:tr>
              <a:tr h="199218">
                <a:tc gridSpan="4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ПРОЕКТИРОВАНИЕ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</a:tr>
              <a:tr h="14390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Работы по разработке специальных разделов проектной документаци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Инженер-проектировщик по разработке специальных разделов проектной документации ОИАЭ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П-7, </a:t>
                      </a: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/>
                      </a:r>
                      <a:br>
                        <a:rPr lang="ru-RU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</a:b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П-9,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П-10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ТО СРО-П 60542948 00033-2015;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ТО СРО-П 60542948 00034-2015;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ТО СРО-П 60542948 00033-2015;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ТО СРО-П 60542948 00034-2015;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ТО СРО-П 60542948 00033-2015;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ТО СРО-П 60542948 00034-2015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</a:tr>
              <a:tr h="12119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Работы по подготовке проектов организации строительства, сносу и демонтажу зданий и сооружений, продлению срока эксплуатации и консерваци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Инженер-проектировщик по выводу из эксплуатации </a:t>
                      </a: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ОИАЭ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7030A0"/>
                          </a:solidFill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1400" b="1" dirty="0">
                          <a:solidFill>
                            <a:srgbClr val="7030A0"/>
                          </a:solidFill>
                          <a:latin typeface="Calibri"/>
                          <a:ea typeface="Calibri"/>
                          <a:cs typeface="Times New Roman"/>
                        </a:rPr>
                        <a:t>(ПС </a:t>
                      </a:r>
                      <a:r>
                        <a:rPr lang="ru-RU" sz="1400" b="1" dirty="0" smtClean="0">
                          <a:solidFill>
                            <a:srgbClr val="7030A0"/>
                          </a:solidFill>
                          <a:latin typeface="+mn-lt"/>
                          <a:ea typeface="Calibri"/>
                          <a:cs typeface="Times New Roman"/>
                        </a:rPr>
                        <a:t>введен в действие в июле 2016 года)</a:t>
                      </a:r>
                      <a:endParaRPr lang="ru-RU" sz="1400" b="1" dirty="0">
                        <a:solidFill>
                          <a:srgbClr val="7030A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П-8, П-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ТО СРО-П 60542948 00033-2015;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ТО СРО-П 60542948 00034-2015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</a:tr>
            </a:tbl>
          </a:graphicData>
        </a:graphic>
      </p:graphicFrame>
      <p:sp>
        <p:nvSpPr>
          <p:cNvPr id="5" name="Номер слайда 2"/>
          <p:cNvSpPr txBox="1">
            <a:spLocks noGrp="1"/>
          </p:cNvSpPr>
          <p:nvPr/>
        </p:nvSpPr>
        <p:spPr>
          <a:xfrm>
            <a:off x="10796588" y="6356350"/>
            <a:ext cx="365125" cy="365125"/>
          </a:xfrm>
          <a:prstGeom prst="rect">
            <a:avLst/>
          </a:prstGeom>
          <a:noFill/>
        </p:spPr>
        <p:txBody>
          <a:bodyPr anchor="ctr"/>
          <a:lstStyle/>
          <a:p>
            <a:pPr algn="ctr">
              <a:defRPr/>
            </a:pPr>
            <a:fld id="{EAEEC85D-04AE-4049-A0A3-9BC2D3279D90}" type="slidenum">
              <a:rPr lang="ru-RU" sz="1200">
                <a:solidFill>
                  <a:schemeClr val="tx1">
                    <a:tint val="75000"/>
                  </a:schemeClr>
                </a:solidFill>
              </a:rPr>
              <a:pPr algn="ctr">
                <a:defRPr/>
              </a:pPr>
              <a:t>13</a:t>
            </a:fld>
            <a:endParaRPr lang="ru-RU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7" name="Заголовок 7"/>
          <p:cNvSpPr>
            <a:spLocks noGrp="1"/>
          </p:cNvSpPr>
          <p:nvPr>
            <p:ph type="title"/>
          </p:nvPr>
        </p:nvSpPr>
        <p:spPr>
          <a:xfrm>
            <a:off x="436563" y="142875"/>
            <a:ext cx="9931400" cy="714375"/>
          </a:xfrm>
        </p:spPr>
        <p:txBody>
          <a:bodyPr/>
          <a:lstStyle/>
          <a:p>
            <a:r>
              <a:rPr lang="ru-RU" sz="1800" b="1" smtClean="0">
                <a:latin typeface="Times New Roman" pitchFamily="18" charset="0"/>
                <a:cs typeface="Times New Roman" pitchFamily="18" charset="0"/>
              </a:rPr>
              <a:t>Перечень профессий  (строительство) со специальной компетенцией для сооружения ОИАЭ, </a:t>
            </a:r>
            <a:br>
              <a:rPr lang="ru-RU" sz="1800" b="1" smtClean="0">
                <a:latin typeface="Times New Roman" pitchFamily="18" charset="0"/>
                <a:cs typeface="Times New Roman" pitchFamily="18" charset="0"/>
              </a:rPr>
            </a:br>
            <a:r>
              <a:rPr lang="ru-RU" sz="1800" b="1" smtClean="0">
                <a:latin typeface="Times New Roman" pitchFamily="18" charset="0"/>
                <a:cs typeface="Times New Roman" pitchFamily="18" charset="0"/>
              </a:rPr>
              <a:t>в т.ч. требующих разработки профессиональных стандартов.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0796588" y="6356350"/>
            <a:ext cx="365125" cy="365125"/>
          </a:xfrm>
        </p:spPr>
        <p:txBody>
          <a:bodyPr/>
          <a:lstStyle/>
          <a:p>
            <a:pPr algn="ctr">
              <a:defRPr/>
            </a:pPr>
            <a:fld id="{821F5A7B-D399-4B66-ACE0-88997197239D}" type="slidenum">
              <a:rPr lang="ru-RU">
                <a:solidFill>
                  <a:schemeClr val="tx1">
                    <a:tint val="75000"/>
                  </a:schemeClr>
                </a:solidFill>
              </a:rPr>
              <a:pPr algn="ctr">
                <a:defRPr/>
              </a:pPr>
              <a:t>14</a:t>
            </a:fld>
            <a:endParaRPr lang="ru-RU" dirty="0">
              <a:solidFill>
                <a:schemeClr val="tx1">
                  <a:tint val="75000"/>
                </a:schemeClr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23009" y="1067754"/>
          <a:ext cx="10644262" cy="5101220"/>
        </p:xfrm>
        <a:graphic>
          <a:graphicData uri="http://schemas.openxmlformats.org/drawingml/2006/table">
            <a:tbl>
              <a:tblPr/>
              <a:tblGrid>
                <a:gridCol w="3280767"/>
                <a:gridCol w="3134953"/>
                <a:gridCol w="1312306"/>
                <a:gridCol w="2916236"/>
              </a:tblGrid>
              <a:tr h="85483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latin typeface="Calibri"/>
                          <a:ea typeface="Calibri"/>
                          <a:cs typeface="Times New Roman"/>
                        </a:rPr>
                        <a:t>Направления работ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latin typeface="+mn-lt"/>
                          <a:ea typeface="Calibri"/>
                          <a:cs typeface="Times New Roman"/>
                        </a:rPr>
                        <a:t>Название профессии ,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latin typeface="+mn-lt"/>
                          <a:ea typeface="Calibri"/>
                          <a:cs typeface="Times New Roman"/>
                        </a:rPr>
                        <a:t>Наименование профессионального  стандарта</a:t>
                      </a:r>
                      <a:endParaRPr lang="ru-RU" sz="16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latin typeface="Calibri"/>
                          <a:ea typeface="Calibri"/>
                          <a:cs typeface="Times New Roman"/>
                        </a:rPr>
                        <a:t>Шифр программы ДПО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latin typeface="Calibri"/>
                          <a:ea typeface="Calibri"/>
                          <a:cs typeface="Times New Roman"/>
                        </a:rPr>
                        <a:t>СТО  СРОАО</a:t>
                      </a:r>
                      <a:endParaRPr lang="ru-RU" sz="16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20562">
                <a:tc gridSpan="4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ТРОИТЕЛЬСТВО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82905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Работы по организации строительства, сносу и демонтажу зданий и сооружений, продлению срока эксплуатации и </a:t>
                      </a: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консервации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Строительный контроль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Инженер по строительству </a:t>
                      </a: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атомных электрических станций </a:t>
                      </a:r>
                      <a:r>
                        <a:rPr lang="ru-RU" sz="1400" b="1" dirty="0">
                          <a:solidFill>
                            <a:srgbClr val="7030A0"/>
                          </a:solidFill>
                          <a:latin typeface="Calibri"/>
                          <a:ea typeface="Calibri"/>
                          <a:cs typeface="Times New Roman"/>
                        </a:rPr>
                        <a:t>(ПС </a:t>
                      </a:r>
                      <a:r>
                        <a:rPr lang="ru-RU" sz="1400" b="1" dirty="0" smtClean="0">
                          <a:solidFill>
                            <a:srgbClr val="7030A0"/>
                          </a:solidFill>
                          <a:latin typeface="Calibri"/>
                          <a:ea typeface="Calibri"/>
                          <a:cs typeface="Times New Roman"/>
                        </a:rPr>
                        <a:t>введен в </a:t>
                      </a:r>
                      <a:r>
                        <a:rPr lang="ru-RU" sz="1400" b="1" dirty="0">
                          <a:solidFill>
                            <a:srgbClr val="7030A0"/>
                          </a:solidFill>
                          <a:latin typeface="Calibri"/>
                          <a:ea typeface="Calibri"/>
                          <a:cs typeface="Times New Roman"/>
                        </a:rPr>
                        <a:t>действие в </a:t>
                      </a:r>
                      <a:r>
                        <a:rPr lang="ru-RU" sz="1400" b="1" dirty="0" smtClean="0">
                          <a:solidFill>
                            <a:srgbClr val="7030A0"/>
                          </a:solidFill>
                          <a:latin typeface="Calibri"/>
                          <a:ea typeface="Calibri"/>
                          <a:cs typeface="Times New Roman"/>
                        </a:rPr>
                        <a:t>июле 2016 года)</a:t>
                      </a: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;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 smtClean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Инженер  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в области организации строительства и осуществления строительного контроля, реконструкции и демонтажа  радиационно-опасных объектов </a:t>
                      </a:r>
                      <a:r>
                        <a:rPr lang="ru-RU" sz="1400" b="1" dirty="0">
                          <a:solidFill>
                            <a:srgbClr val="7030A0"/>
                          </a:solidFill>
                          <a:latin typeface="Calibri"/>
                          <a:ea typeface="Calibri"/>
                          <a:cs typeface="Times New Roman"/>
                        </a:rPr>
                        <a:t>(ПС </a:t>
                      </a:r>
                      <a:r>
                        <a:rPr lang="ru-RU" sz="1400" b="1" dirty="0" smtClean="0">
                          <a:solidFill>
                            <a:srgbClr val="7030A0"/>
                          </a:solidFill>
                          <a:latin typeface="+mn-lt"/>
                          <a:ea typeface="Calibri"/>
                          <a:cs typeface="Times New Roman"/>
                        </a:rPr>
                        <a:t>введен в действие в июле 2016 года)</a:t>
                      </a: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;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 smtClean="0">
                        <a:solidFill>
                          <a:srgbClr val="7030A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Техник 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по промышленному строительству в области демонтажа радиационно-опасных объектов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7030A0"/>
                          </a:solidFill>
                          <a:latin typeface="Calibri"/>
                          <a:ea typeface="Calibri"/>
                          <a:cs typeface="Times New Roman"/>
                        </a:rPr>
                        <a:t>(ПС </a:t>
                      </a:r>
                      <a:r>
                        <a:rPr lang="ru-RU" sz="1400" b="1" dirty="0" smtClean="0">
                          <a:solidFill>
                            <a:srgbClr val="7030A0"/>
                          </a:solidFill>
                          <a:latin typeface="+mn-lt"/>
                          <a:ea typeface="Calibri"/>
                          <a:cs typeface="Times New Roman"/>
                        </a:rPr>
                        <a:t>введен в действие в июле 2016 года)</a:t>
                      </a:r>
                      <a:endParaRPr lang="ru-RU" sz="1400" b="1" dirty="0">
                        <a:solidFill>
                          <a:srgbClr val="7030A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С-6.4, </a:t>
                      </a:r>
                      <a:endParaRPr lang="ru-RU" sz="1400" b="1" dirty="0" smtClean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С-7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,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Times New Roman"/>
                        </a:rPr>
                        <a:t>С-9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РО-С 60542960 00042-2015;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ТО СРО-С 60542960 00045 -2015;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ТО СРО-С 60542960 00046 -2015;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ТО СРО-С 60542960 00048 -2015;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ТО СРО-С 60542960 00051 – 2015</a:t>
                      </a: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;  … 00017-2014;                                      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00050-2015</a:t>
                      </a: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;  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00049-2015;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00056-2016;  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00053-2016;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00065-2016;  00063-2016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;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00061-2016;  0062-2016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;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00058-2016;  00047-2016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;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00067-2016.         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5" name="Номер слайда 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114D46D-79C2-4473-9C6F-3201B31BADDC}" type="slidenum">
              <a:rPr lang="ru-RU">
                <a:solidFill>
                  <a:srgbClr val="FFFFFF"/>
                </a:solidFill>
              </a:rPr>
              <a:pPr/>
              <a:t>15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98306" name="Прямоугольник 1"/>
          <p:cNvSpPr>
            <a:spLocks noChangeArrowheads="1"/>
          </p:cNvSpPr>
          <p:nvPr/>
        </p:nvSpPr>
        <p:spPr bwMode="auto">
          <a:xfrm>
            <a:off x="-307975" y="0"/>
            <a:ext cx="10869613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indent="342900" algn="ctr"/>
            <a:r>
              <a:rPr lang="ru-RU" sz="2000" b="1">
                <a:latin typeface="Times New Roman" pitchFamily="18" charset="0"/>
                <a:cs typeface="Times New Roman" pitchFamily="18" charset="0"/>
              </a:rPr>
              <a:t>Роль профессионального сообщества в реализации образовательного проекта СРО атомной отрасли по направлению </a:t>
            </a:r>
          </a:p>
          <a:p>
            <a:pPr indent="342900" algn="ctr"/>
            <a:r>
              <a:rPr lang="ru-RU" sz="2000" b="1">
                <a:latin typeface="Times New Roman" pitchFamily="18" charset="0"/>
                <a:cs typeface="Times New Roman" pitchFamily="18" charset="0"/>
              </a:rPr>
              <a:t>«Ядерная и радиационная безопасность»</a:t>
            </a:r>
            <a:endParaRPr lang="ru-RU" altLang="ru-RU" sz="2000" b="1">
              <a:solidFill>
                <a:schemeClr val="bg1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5" name="Схема 4"/>
          <p:cNvGraphicFramePr/>
          <p:nvPr/>
        </p:nvGraphicFramePr>
        <p:xfrm>
          <a:off x="11203" y="1041250"/>
          <a:ext cx="11150510" cy="55561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98308" name="Группа 11"/>
          <p:cNvGrpSpPr>
            <a:grpSpLocks/>
          </p:cNvGrpSpPr>
          <p:nvPr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7" name="Овал 6"/>
            <p:cNvSpPr>
              <a:spLocks noChangeAspect="1"/>
            </p:cNvSpPr>
            <p:nvPr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98310" name="Picture 4" descr="LOGO_SAS7_small"/>
            <p:cNvPicPr>
              <a:picLocks noChangeAspect="1" noChangeArrowheads="1"/>
            </p:cNvPicPr>
            <p:nvPr/>
          </p:nvPicPr>
          <p:blipFill>
            <a:blip r:embed="rId8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6013" y="3024188"/>
            <a:ext cx="9115425" cy="393700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СПАСИБО  ЗА  ВНИМАНИЕ</a:t>
            </a:r>
            <a:endParaRPr lang="ru-R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03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736A113B-D9C6-4C4A-8A41-023EAA22ACA6}" type="slidenum">
              <a:rPr lang="ru-RU">
                <a:solidFill>
                  <a:srgbClr val="FFFFFF"/>
                </a:solidFill>
              </a:rPr>
              <a:pPr/>
              <a:t>16</a:t>
            </a:fld>
            <a:endParaRPr lang="ru-RU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Заголовок 7"/>
          <p:cNvSpPr>
            <a:spLocks noGrp="1"/>
          </p:cNvSpPr>
          <p:nvPr>
            <p:ph type="title"/>
          </p:nvPr>
        </p:nvSpPr>
        <p:spPr>
          <a:xfrm>
            <a:off x="436563" y="142875"/>
            <a:ext cx="9717087" cy="785813"/>
          </a:xfrm>
        </p:spPr>
        <p:txBody>
          <a:bodyPr/>
          <a:lstStyle/>
          <a:p>
            <a:r>
              <a:rPr lang="ru-RU" sz="1800" b="1" smtClean="0">
                <a:latin typeface="Times New Roman" pitchFamily="18" charset="0"/>
                <a:cs typeface="Times New Roman" pitchFamily="18" charset="0"/>
              </a:rPr>
              <a:t>Перечень программ ДПО ( повышение квалификации), реализуемых в рамках Образовательного проекта СРО атомной отрасли по направлению «Ядерная и радиационная безопасность» по состоянию на 01.07.2016 г.</a:t>
            </a:r>
          </a:p>
        </p:txBody>
      </p:sp>
      <p:sp>
        <p:nvSpPr>
          <p:cNvPr id="78850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3813175" y="6356350"/>
            <a:ext cx="3535363" cy="36512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ctr"/>
            <a:fld id="{D26F3C1C-F72A-4BC9-8C60-1E1BA3ED0BED}" type="slidenum">
              <a:rPr lang="ru-RU">
                <a:solidFill>
                  <a:srgbClr val="FFFFFF"/>
                </a:solidFill>
              </a:rPr>
              <a:pPr algn="ctr"/>
              <a:t>2</a:t>
            </a:fld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51571" y="1000115"/>
          <a:ext cx="10858578" cy="5726603"/>
        </p:xfrm>
        <a:graphic>
          <a:graphicData uri="http://schemas.openxmlformats.org/drawingml/2006/table">
            <a:tbl>
              <a:tblPr/>
              <a:tblGrid>
                <a:gridCol w="1714513"/>
                <a:gridCol w="7623863"/>
                <a:gridCol w="1520202"/>
              </a:tblGrid>
              <a:tr h="44051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Шифр программы</a:t>
                      </a:r>
                      <a:endParaRPr lang="ru-RU" sz="1500" b="1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Наименование</a:t>
                      </a:r>
                      <a:r>
                        <a:rPr lang="ru-RU" sz="1500" b="1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 учебной  программы  повышения  квалификации</a:t>
                      </a:r>
                      <a:endParaRPr lang="ru-RU" sz="1500" b="1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 smtClean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Реализация</a:t>
                      </a:r>
                      <a:endParaRPr lang="ru-RU" sz="1500" b="1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41332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П-7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Разработка обоснования радиационной и ядерной  безопасности объектов использования атомной энергии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май 2013 г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</a:tr>
              <a:tr h="61998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С-10.1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Требования МС ИСО 9001:2015 с учетом деятельности организаций, выполняющих строительно-монтажные и пусконаладочные работы, влияющие на ядерную и радиационную безопасность сооружаемых ОИАЭ. Внутренний аудит СМК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сентябрь 2014 г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</a:tr>
              <a:tr h="82664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С-10.2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Разработка, внедрение и подготовка к сертификации СМК на основе требований МС ИСО 9001:2015 с учетом деятельности организаций, выполняющих строительно-монтажные и пусконаладочные работы, влияющие на ядерную и радиационную безопасность сооружаемых ОИАЭ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ноябрь 2014 г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</a:tr>
              <a:tr h="418658"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-13.6.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506" marR="5506" marT="5506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kumimoji="0" lang="ru-RU" sz="14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Обеспечение экологической безопасности руководителями и специалистами экологических служб и систем экологического контроля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 marL="5506" marR="5506" marT="550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сентябрь 2015 г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</a:tr>
              <a:tr h="4202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-13.6.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199" marR="7199" marT="72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kumimoji="0" lang="ru-RU" sz="14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Обеспечение экологической безопасности при работах в области обращения с опасными отходами 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 marL="7199" marR="7199" marT="72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сентябрь 2015 г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</a:tr>
              <a:tr h="41332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ГЕО-4.1, П-14.1,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 С-35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Водные объекты, как элементы инфраструктуры объектов использования атомной энергии: состояние, проблемы и стратегия развития 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сентябрь 2016 г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3"/>
                    </a:solidFill>
                  </a:tcPr>
                </a:tc>
              </a:tr>
              <a:tr h="82664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С-13.7.1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Санитарное законодательство. Порядок разработки в отрасли  программы производственного контроля за соблюдением санитарных норм и правил. Обеспечение радиационной безопасности и   радиационного контроля лицами, работающими с источниками ионизирующего излучения на объектах Госкорпорации «Росатом»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сентябрь 2016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г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3"/>
                    </a:solidFill>
                  </a:tcPr>
                </a:tc>
              </a:tr>
              <a:tr h="82664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С-13.5.2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Система менеджмента профессиональной безопасности и здоровья при организации работ на объектах использования атомной энергии в соответствии со стандартами OHSAS 18000.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Система управления охраной труда в организации в соответствии с СТО СРО-С 60542960 00055 -2016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октябрь 2016 г.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3"/>
                    </a:solidFill>
                  </a:tcPr>
                </a:tc>
              </a:tr>
              <a:tr h="3661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С-13.6.4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Экологический менеджмент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октябрь 2016 г.</a:t>
                      </a:r>
                      <a:r>
                        <a:rPr lang="ru-RU" sz="1400" b="1" baseline="0" dirty="0" smtClean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 pitchFamily="18" charset="0"/>
                        </a:rPr>
                        <a:t>                     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3"/>
                    </a:solidFill>
                  </a:tcPr>
                </a:tc>
              </a:tr>
            </a:tbl>
          </a:graphicData>
        </a:graphic>
      </p:graphicFrame>
      <p:sp>
        <p:nvSpPr>
          <p:cNvPr id="78852" name="Номер слайда 4"/>
          <p:cNvSpPr txBox="1">
            <a:spLocks noGrp="1"/>
          </p:cNvSpPr>
          <p:nvPr/>
        </p:nvSpPr>
        <p:spPr bwMode="auto">
          <a:xfrm>
            <a:off x="8556625" y="6526213"/>
            <a:ext cx="2605088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5E9A650C-88F9-45CC-AEEB-B4B040D4DADF}" type="slidenum">
              <a:rPr lang="ru-RU" sz="1200">
                <a:solidFill>
                  <a:srgbClr val="FFFFFF"/>
                </a:solidFill>
              </a:rPr>
              <a:pPr algn="r"/>
              <a:t>2</a:t>
            </a:fld>
            <a:endParaRPr lang="ru-RU" sz="120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5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7939088" y="6492875"/>
            <a:ext cx="3071812" cy="36512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ru-RU" dirty="0" smtClean="0">
                <a:solidFill>
                  <a:srgbClr val="FFFFFF"/>
                </a:solidFill>
              </a:rPr>
              <a:t>3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08000" y="6072188"/>
            <a:ext cx="10074275" cy="64293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>
                <a:solidFill>
                  <a:schemeClr val="bg1"/>
                </a:solidFill>
              </a:rPr>
              <a:t>Обеспечение квалифицированным персоналом мероприятий в области обращения ОЯТ и  РАО и вывода  объектов из эксплуатации</a:t>
            </a:r>
            <a:endParaRPr lang="ru-RU" sz="20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08000" y="285750"/>
            <a:ext cx="9574213" cy="64293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>
                <a:solidFill>
                  <a:schemeClr val="bg1"/>
                </a:solidFill>
              </a:rPr>
              <a:t>Укрупненные мероприятия ФЦП-2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65125" y="1143000"/>
            <a:ext cx="3357563" cy="314325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600" b="1" dirty="0">
                <a:solidFill>
                  <a:schemeClr val="bg1"/>
                </a:solidFill>
              </a:rPr>
              <a:t>Объекты  обращения с ОЯТ</a:t>
            </a:r>
          </a:p>
          <a:p>
            <a:pPr algn="ctr">
              <a:defRPr/>
            </a:pPr>
            <a:endParaRPr lang="ru-RU" sz="1200" b="1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ru-RU" sz="1600" b="1" dirty="0">
                <a:solidFill>
                  <a:schemeClr val="bg1"/>
                </a:solidFill>
              </a:rPr>
              <a:t>Создание </a:t>
            </a:r>
            <a:r>
              <a:rPr lang="ru-RU" sz="1600" b="1" dirty="0" smtClean="0">
                <a:solidFill>
                  <a:schemeClr val="bg1"/>
                </a:solidFill>
              </a:rPr>
              <a:t>ОДЦ</a:t>
            </a:r>
            <a:endParaRPr lang="ru-RU" sz="1600" b="1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ru-RU" sz="1600" b="1" dirty="0">
                <a:solidFill>
                  <a:schemeClr val="bg1"/>
                </a:solidFill>
              </a:rPr>
              <a:t>(полное развитие)</a:t>
            </a:r>
          </a:p>
          <a:p>
            <a:pPr>
              <a:defRPr/>
            </a:pPr>
            <a:endParaRPr lang="ru-RU" sz="1600" b="1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ru-RU" sz="1600" b="1" dirty="0">
                <a:solidFill>
                  <a:schemeClr val="bg1"/>
                </a:solidFill>
              </a:rPr>
              <a:t>Реконструкция комплекса </a:t>
            </a:r>
          </a:p>
          <a:p>
            <a:pPr>
              <a:buFontTx/>
              <a:buChar char="-"/>
              <a:defRPr/>
            </a:pPr>
            <a:endParaRPr lang="ru-RU" sz="1600" b="1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ru-RU" sz="1600" b="1" dirty="0">
                <a:solidFill>
                  <a:schemeClr val="bg1"/>
                </a:solidFill>
              </a:rPr>
              <a:t>Строительство центрального </a:t>
            </a:r>
          </a:p>
          <a:p>
            <a:pPr>
              <a:defRPr/>
            </a:pPr>
            <a:r>
              <a:rPr lang="ru-RU" sz="1600" b="1" dirty="0">
                <a:solidFill>
                  <a:schemeClr val="bg1"/>
                </a:solidFill>
              </a:rPr>
              <a:t>контейнерного </a:t>
            </a:r>
            <a:r>
              <a:rPr lang="ru-RU" sz="1600" b="1" dirty="0" smtClean="0">
                <a:solidFill>
                  <a:schemeClr val="bg1"/>
                </a:solidFill>
              </a:rPr>
              <a:t>хранилища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794125" y="1143000"/>
            <a:ext cx="3502025" cy="314325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600" b="1" dirty="0">
                <a:solidFill>
                  <a:schemeClr val="bg1"/>
                </a:solidFill>
              </a:rPr>
              <a:t>Объекты обращения с РАО</a:t>
            </a:r>
          </a:p>
          <a:p>
            <a:pPr algn="ctr">
              <a:defRPr/>
            </a:pPr>
            <a:endParaRPr lang="ru-RU" sz="1200" b="1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ru-RU" sz="1200" dirty="0">
                <a:solidFill>
                  <a:schemeClr val="bg1"/>
                </a:solidFill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Строительство региональных комплексов по переработке накопленных ТРО и ЖРО </a:t>
            </a:r>
            <a:r>
              <a:rPr lang="ru-RU" sz="1600" b="1" dirty="0" smtClean="0">
                <a:solidFill>
                  <a:schemeClr val="bg1"/>
                </a:solidFill>
              </a:rPr>
              <a:t>(на объектах, участников мероприятий).</a:t>
            </a:r>
            <a:endParaRPr lang="ru-RU" sz="1600" b="1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ru-RU" sz="1600" b="1" dirty="0">
                <a:solidFill>
                  <a:schemeClr val="bg1"/>
                </a:solidFill>
              </a:rPr>
              <a:t>Строительство пунктов окончательной изоляции РАО</a:t>
            </a:r>
          </a:p>
          <a:p>
            <a:pPr algn="ctr">
              <a:buFontTx/>
              <a:buChar char="-"/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7367588" y="1143000"/>
            <a:ext cx="3143250" cy="314325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ru-RU" sz="1600" b="1" dirty="0">
                <a:solidFill>
                  <a:schemeClr val="bg1"/>
                </a:solidFill>
              </a:rPr>
              <a:t>Объекты вывода из эксплуатации </a:t>
            </a:r>
          </a:p>
          <a:p>
            <a:pPr>
              <a:defRPr/>
            </a:pPr>
            <a:r>
              <a:rPr lang="ru-RU" sz="1200" b="1" dirty="0">
                <a:solidFill>
                  <a:schemeClr val="bg1"/>
                </a:solidFill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Вывод из эксплуатации </a:t>
            </a:r>
            <a:r>
              <a:rPr lang="ru-RU" sz="1600" b="1" dirty="0" smtClean="0">
                <a:solidFill>
                  <a:schemeClr val="bg1"/>
                </a:solidFill>
              </a:rPr>
              <a:t>ПР                  </a:t>
            </a:r>
            <a:r>
              <a:rPr lang="ru-RU" sz="1600" b="1" dirty="0">
                <a:solidFill>
                  <a:schemeClr val="bg1"/>
                </a:solidFill>
              </a:rPr>
              <a:t>(на объектах, участников мероприятий</a:t>
            </a:r>
            <a:r>
              <a:rPr lang="ru-RU" sz="1600" b="1" dirty="0" smtClean="0">
                <a:solidFill>
                  <a:schemeClr val="bg1"/>
                </a:solidFill>
              </a:rPr>
              <a:t>)</a:t>
            </a:r>
            <a:endParaRPr lang="ru-RU" sz="1600" b="1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ru-RU" sz="1600" dirty="0">
                <a:solidFill>
                  <a:schemeClr val="bg1"/>
                </a:solidFill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Подготовка и вывод из эксплуатации энергоблоков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АЭС (ОАО «Концерн Росэнергоатом»)</a:t>
            </a:r>
          </a:p>
          <a:p>
            <a:pPr algn="ctr">
              <a:buFontTx/>
              <a:buChar char="-"/>
              <a:defRPr/>
            </a:pPr>
            <a:endParaRPr lang="ru-RU" sz="1200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ru-RU" sz="1200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1" name="Блок-схема: альтернативный процесс 10"/>
          <p:cNvSpPr/>
          <p:nvPr/>
        </p:nvSpPr>
        <p:spPr>
          <a:xfrm>
            <a:off x="5724525" y="4714875"/>
            <a:ext cx="4214813" cy="1071563"/>
          </a:xfrm>
          <a:prstGeom prst="flowChartAlternateProcess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 b="1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ru-RU" sz="1600" b="1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1600" b="1" dirty="0">
                <a:solidFill>
                  <a:schemeClr val="bg1"/>
                </a:solidFill>
              </a:rPr>
              <a:t>Категории персонала</a:t>
            </a:r>
            <a:endParaRPr lang="ru-RU" sz="1200" b="1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1500" b="1" dirty="0">
                <a:solidFill>
                  <a:schemeClr val="bg1"/>
                </a:solidFill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Руководители, специалисты,</a:t>
            </a:r>
          </a:p>
          <a:p>
            <a:pPr algn="ctr">
              <a:defRPr/>
            </a:pPr>
            <a:r>
              <a:rPr lang="ru-RU" sz="1600" b="1" dirty="0">
                <a:solidFill>
                  <a:schemeClr val="bg1"/>
                </a:solidFill>
              </a:rPr>
              <a:t>линейный персонал</a:t>
            </a:r>
          </a:p>
          <a:p>
            <a:pPr algn="ctr">
              <a:defRPr/>
            </a:pPr>
            <a:r>
              <a:rPr lang="ru-RU" sz="1600" b="1" dirty="0">
                <a:solidFill>
                  <a:schemeClr val="bg1"/>
                </a:solidFill>
              </a:rPr>
              <a:t> квалифицированные рабочие </a:t>
            </a:r>
          </a:p>
          <a:p>
            <a:pPr algn="ctr">
              <a:defRPr/>
            </a:pPr>
            <a:endParaRPr lang="ru-RU" sz="1200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3" name="Блок-схема: альтернативный процесс 12"/>
          <p:cNvSpPr/>
          <p:nvPr/>
        </p:nvSpPr>
        <p:spPr>
          <a:xfrm>
            <a:off x="865188" y="4714875"/>
            <a:ext cx="4357687" cy="1071563"/>
          </a:xfrm>
          <a:prstGeom prst="flowChartAlternateProcess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600" b="1" dirty="0">
                <a:solidFill>
                  <a:schemeClr val="bg1"/>
                </a:solidFill>
              </a:rPr>
              <a:t>Обеспечение</a:t>
            </a:r>
            <a:endParaRPr lang="ru-RU" sz="1200" b="1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1600" b="1" dirty="0">
                <a:solidFill>
                  <a:schemeClr val="bg1"/>
                </a:solidFill>
              </a:rPr>
              <a:t>Проекты организации строительства     Проектно-сметная документация      (Перечень видов работ)                               </a:t>
            </a:r>
          </a:p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</a:rPr>
              <a:t> </a:t>
            </a:r>
          </a:p>
          <a:p>
            <a:pPr algn="ctr">
              <a:defRPr/>
            </a:pPr>
            <a:endParaRPr lang="ru-RU" sz="1200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ru-RU" sz="1200" dirty="0">
              <a:solidFill>
                <a:schemeClr val="bg1"/>
              </a:solidFill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1651000" y="4500563"/>
            <a:ext cx="757396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 rot="5400000">
            <a:off x="1543843" y="4393407"/>
            <a:ext cx="2143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 rot="5400000">
            <a:off x="9117806" y="4393407"/>
            <a:ext cx="2143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722313" y="1571625"/>
            <a:ext cx="28575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4151313" y="1571625"/>
            <a:ext cx="285908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7581900" y="1571625"/>
            <a:ext cx="28575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>
            <a:off x="1865313" y="5072063"/>
            <a:ext cx="292893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/>
        </p:nvCxnSpPr>
        <p:spPr>
          <a:xfrm>
            <a:off x="6724650" y="5072063"/>
            <a:ext cx="271462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/>
          <p:cNvCxnSpPr/>
          <p:nvPr/>
        </p:nvCxnSpPr>
        <p:spPr>
          <a:xfrm rot="5400000">
            <a:off x="5330031" y="4393407"/>
            <a:ext cx="2143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2" name="Прямая со стрелкой 61"/>
          <p:cNvCxnSpPr/>
          <p:nvPr/>
        </p:nvCxnSpPr>
        <p:spPr>
          <a:xfrm rot="5400000">
            <a:off x="2973388" y="4606925"/>
            <a:ext cx="214312" cy="1588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 стрелкой 69"/>
          <p:cNvCxnSpPr/>
          <p:nvPr/>
        </p:nvCxnSpPr>
        <p:spPr>
          <a:xfrm rot="5400000">
            <a:off x="7618413" y="4606925"/>
            <a:ext cx="214312" cy="1588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rot="5400000">
            <a:off x="7654132" y="5928519"/>
            <a:ext cx="285750" cy="1587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 стрелкой 54"/>
          <p:cNvCxnSpPr/>
          <p:nvPr/>
        </p:nvCxnSpPr>
        <p:spPr>
          <a:xfrm rot="5400000">
            <a:off x="2937669" y="5928519"/>
            <a:ext cx="285750" cy="1588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2813" y="117475"/>
            <a:ext cx="8988425" cy="836613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ru-RU" sz="3600" dirty="0" smtClean="0"/>
              <a:t/>
            </a:r>
            <a:br>
              <a:rPr lang="ru-RU" sz="3600" dirty="0" smtClean="0"/>
            </a:br>
            <a:endParaRPr lang="ru-RU" dirty="0"/>
          </a:p>
        </p:txBody>
      </p:sp>
      <p:sp>
        <p:nvSpPr>
          <p:cNvPr id="83970" name="Номер слайда 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3918714F-8443-4683-AA2A-BCD2E89113B8}" type="slidenum">
              <a:rPr lang="ru-RU" altLang="ru-RU">
                <a:solidFill>
                  <a:srgbClr val="FFFFFF"/>
                </a:solidFill>
              </a:rPr>
              <a:pPr/>
              <a:t>4</a:t>
            </a:fld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4" name="Скругленный прямоугольник 3"/>
          <p:cNvSpPr/>
          <p:nvPr/>
        </p:nvSpPr>
        <p:spPr bwMode="auto">
          <a:xfrm>
            <a:off x="4135438" y="3101975"/>
            <a:ext cx="3000375" cy="150018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ru-RU" sz="2000" b="1" dirty="0"/>
          </a:p>
          <a:p>
            <a:pPr algn="ctr">
              <a:defRPr/>
            </a:pPr>
            <a:r>
              <a:rPr lang="ru-RU" sz="2000" b="1" dirty="0"/>
              <a:t>Направление работ ПОС и ПСД                          Виды работ </a:t>
            </a:r>
          </a:p>
        </p:txBody>
      </p:sp>
      <p:sp>
        <p:nvSpPr>
          <p:cNvPr id="5" name="Скругленный прямоугольник 4"/>
          <p:cNvSpPr/>
          <p:nvPr/>
        </p:nvSpPr>
        <p:spPr bwMode="auto">
          <a:xfrm>
            <a:off x="579438" y="1071563"/>
            <a:ext cx="2643187" cy="128587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b="1" dirty="0"/>
              <a:t>Стандарты организации                СТО  СРОАО</a:t>
            </a:r>
          </a:p>
        </p:txBody>
      </p:sp>
      <p:sp>
        <p:nvSpPr>
          <p:cNvPr id="6" name="Скругленный прямоугольник 5"/>
          <p:cNvSpPr/>
          <p:nvPr/>
        </p:nvSpPr>
        <p:spPr bwMode="auto">
          <a:xfrm>
            <a:off x="3870325" y="836613"/>
            <a:ext cx="3073400" cy="152082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b="1" dirty="0"/>
              <a:t>Аттестация                руководителей  и специалистов организаций-членов  СРОАО</a:t>
            </a:r>
          </a:p>
        </p:txBody>
      </p:sp>
      <p:sp>
        <p:nvSpPr>
          <p:cNvPr id="7" name="Скругленный прямоугольник 6"/>
          <p:cNvSpPr/>
          <p:nvPr/>
        </p:nvSpPr>
        <p:spPr bwMode="auto">
          <a:xfrm>
            <a:off x="7867650" y="1071563"/>
            <a:ext cx="2714625" cy="128587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b="1" dirty="0"/>
              <a:t>Реестр                       нормативно-технической документации СРОАО </a:t>
            </a:r>
          </a:p>
        </p:txBody>
      </p:sp>
      <p:sp>
        <p:nvSpPr>
          <p:cNvPr id="8" name="Скругленный прямоугольник 7"/>
          <p:cNvSpPr/>
          <p:nvPr/>
        </p:nvSpPr>
        <p:spPr bwMode="auto">
          <a:xfrm>
            <a:off x="508000" y="4857750"/>
            <a:ext cx="2643188" cy="142875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ru-RU" dirty="0"/>
          </a:p>
          <a:p>
            <a:pPr algn="ctr">
              <a:defRPr/>
            </a:pPr>
            <a:r>
              <a:rPr lang="ru-RU" b="1" dirty="0"/>
              <a:t>Программный комплекс ПК  СРОАО</a:t>
            </a:r>
          </a:p>
        </p:txBody>
      </p:sp>
      <p:sp>
        <p:nvSpPr>
          <p:cNvPr id="9" name="Скругленный прямоугольник 8"/>
          <p:cNvSpPr/>
          <p:nvPr/>
        </p:nvSpPr>
        <p:spPr bwMode="auto">
          <a:xfrm>
            <a:off x="6731000" y="4929188"/>
            <a:ext cx="4178300" cy="142875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b="1" dirty="0"/>
              <a:t>Профессиональные  стандарты (ПС),  выявление в СРОАО</a:t>
            </a:r>
          </a:p>
          <a:p>
            <a:pPr algn="ctr">
              <a:defRPr/>
            </a:pPr>
            <a:r>
              <a:rPr lang="ru-RU" b="1" dirty="0"/>
              <a:t>перечня профессий, требующих разработки ПС</a:t>
            </a: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912813" y="117475"/>
            <a:ext cx="8988425" cy="49212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ru-RU" sz="2000" b="1" dirty="0">
                <a:latin typeface="Times New Roman" pitchFamily="18" charset="0"/>
                <a:ea typeface="+mj-ea"/>
                <a:cs typeface="Times New Roman" pitchFamily="18" charset="0"/>
              </a:rPr>
              <a:t>Система обеспечения нормативного уровня квалификации руководителей и специалистов СРОАО при реализации Образовательного проекта СРОАО. </a:t>
            </a:r>
          </a:p>
        </p:txBody>
      </p:sp>
      <p:cxnSp>
        <p:nvCxnSpPr>
          <p:cNvPr id="13" name="Прямая со стрелкой 12"/>
          <p:cNvCxnSpPr/>
          <p:nvPr/>
        </p:nvCxnSpPr>
        <p:spPr>
          <a:xfrm>
            <a:off x="7102475" y="4451350"/>
            <a:ext cx="641350" cy="406400"/>
          </a:xfrm>
          <a:prstGeom prst="straightConnector1">
            <a:avLst/>
          </a:prstGeom>
          <a:ln>
            <a:solidFill>
              <a:srgbClr val="FFFF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 rot="10800000" flipV="1">
            <a:off x="3151188" y="4500563"/>
            <a:ext cx="1000125" cy="428625"/>
          </a:xfrm>
          <a:prstGeom prst="straightConnector1">
            <a:avLst/>
          </a:prstGeom>
          <a:ln>
            <a:solidFill>
              <a:srgbClr val="FFFF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>
            <a:off x="3046413" y="1714500"/>
            <a:ext cx="857250" cy="1588"/>
          </a:xfrm>
          <a:prstGeom prst="straightConnector1">
            <a:avLst/>
          </a:prstGeom>
          <a:ln>
            <a:solidFill>
              <a:srgbClr val="FFFF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rot="10800000">
            <a:off x="7029450" y="1714500"/>
            <a:ext cx="714375" cy="1588"/>
          </a:xfrm>
          <a:prstGeom prst="straightConnector1">
            <a:avLst/>
          </a:prstGeom>
          <a:ln>
            <a:solidFill>
              <a:srgbClr val="FFFF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/>
          <p:nvPr/>
        </p:nvCxnSpPr>
        <p:spPr>
          <a:xfrm rot="10800000">
            <a:off x="3222625" y="2286000"/>
            <a:ext cx="1000125" cy="857250"/>
          </a:xfrm>
          <a:prstGeom prst="straightConnector1">
            <a:avLst/>
          </a:prstGeom>
          <a:ln>
            <a:solidFill>
              <a:srgbClr val="FFFF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 rot="5400000" flipH="1" flipV="1">
            <a:off x="7153276" y="2357437"/>
            <a:ext cx="785812" cy="785813"/>
          </a:xfrm>
          <a:prstGeom prst="straightConnector1">
            <a:avLst/>
          </a:prstGeom>
          <a:ln>
            <a:solidFill>
              <a:srgbClr val="FFFF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 rot="5400000" flipH="1" flipV="1">
            <a:off x="5295106" y="2713832"/>
            <a:ext cx="714375" cy="1588"/>
          </a:xfrm>
          <a:prstGeom prst="straightConnector1">
            <a:avLst/>
          </a:prstGeom>
          <a:ln>
            <a:solidFill>
              <a:srgbClr val="FFFF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 стрелкой 60"/>
          <p:cNvCxnSpPr/>
          <p:nvPr/>
        </p:nvCxnSpPr>
        <p:spPr>
          <a:xfrm rot="16200000" flipH="1">
            <a:off x="597694" y="3625056"/>
            <a:ext cx="2428875" cy="36513"/>
          </a:xfrm>
          <a:prstGeom prst="straightConnector1">
            <a:avLst/>
          </a:prstGeom>
          <a:ln>
            <a:solidFill>
              <a:srgbClr val="FFFF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 стрелкой 62"/>
          <p:cNvCxnSpPr>
            <a:stCxn id="8" idx="3"/>
          </p:cNvCxnSpPr>
          <p:nvPr/>
        </p:nvCxnSpPr>
        <p:spPr>
          <a:xfrm>
            <a:off x="3151188" y="5572125"/>
            <a:ext cx="3571875" cy="0"/>
          </a:xfrm>
          <a:prstGeom prst="straightConnector1">
            <a:avLst/>
          </a:prstGeom>
          <a:ln>
            <a:solidFill>
              <a:srgbClr val="FFFF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 стрелкой 68"/>
          <p:cNvCxnSpPr/>
          <p:nvPr/>
        </p:nvCxnSpPr>
        <p:spPr>
          <a:xfrm rot="16200000" flipH="1">
            <a:off x="8046244" y="3536157"/>
            <a:ext cx="2428875" cy="71437"/>
          </a:xfrm>
          <a:prstGeom prst="straightConnector1">
            <a:avLst/>
          </a:prstGeom>
          <a:ln>
            <a:solidFill>
              <a:srgbClr val="FFFF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988" name="Группа 11"/>
          <p:cNvGrpSpPr>
            <a:grpSpLocks/>
          </p:cNvGrpSpPr>
          <p:nvPr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22" name="Овал 21"/>
            <p:cNvSpPr>
              <a:spLocks noChangeAspect="1"/>
            </p:cNvSpPr>
            <p:nvPr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83990" name="Picture 4" descr="LOGO_SAS7_small"/>
            <p:cNvPicPr>
              <a:picLocks noChangeAspect="1" noChangeArrowheads="1"/>
            </p:cNvPicPr>
            <p:nvPr/>
          </p:nvPicPr>
          <p:blipFill>
            <a:blip r:embed="rId2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0725150" y="6356350"/>
            <a:ext cx="285750" cy="365125"/>
          </a:xfrm>
        </p:spPr>
        <p:txBody>
          <a:bodyPr/>
          <a:lstStyle/>
          <a:p>
            <a:pPr algn="ctr">
              <a:defRPr/>
            </a:pPr>
            <a:fld id="{833C2FF9-6538-41C3-80FD-99CD8377EF7D}" type="slidenum">
              <a:rPr lang="ru-RU">
                <a:solidFill>
                  <a:schemeClr val="tx1">
                    <a:tint val="75000"/>
                  </a:schemeClr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84994" name="Заголовок 1"/>
          <p:cNvSpPr>
            <a:spLocks noGrp="1"/>
          </p:cNvSpPr>
          <p:nvPr>
            <p:ph type="title"/>
          </p:nvPr>
        </p:nvSpPr>
        <p:spPr>
          <a:xfrm>
            <a:off x="579438" y="0"/>
            <a:ext cx="9120187" cy="571500"/>
          </a:xfrm>
        </p:spPr>
        <p:txBody>
          <a:bodyPr/>
          <a:lstStyle/>
          <a:p>
            <a:r>
              <a:rPr lang="ru-RU" sz="2000" b="1" smtClean="0">
                <a:latin typeface="Times New Roman" pitchFamily="18" charset="0"/>
                <a:cs typeface="Times New Roman" pitchFamily="18" charset="0"/>
              </a:rPr>
              <a:t>Адаптация программ ДПО (повышение квалификации) под задачи ФЦП</a:t>
            </a:r>
            <a:endParaRPr lang="ru-RU" sz="2000" smtClean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50813" y="1214438"/>
          <a:ext cx="3857652" cy="9286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2942"/>
                <a:gridCol w="3214710"/>
              </a:tblGrid>
              <a:tr h="928695">
                <a:tc>
                  <a:txBody>
                    <a:bodyPr/>
                    <a:lstStyle/>
                    <a:p>
                      <a:pPr algn="ctr"/>
                      <a:endParaRPr lang="ru-RU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П-6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Разработка технологических решений  ОИАЭ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150813" y="635000"/>
          <a:ext cx="3857652" cy="57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57652"/>
              </a:tblGrid>
              <a:tr h="521726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</a:rPr>
                        <a:t>Программы ДПО, реализуемые  на 01.07.2016.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4789488" y="1000125"/>
          <a:ext cx="6149938" cy="51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49938"/>
              </a:tblGrid>
              <a:tr h="500065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/>
                        <a:t>Разработка  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технологических решений   (в проектах</a:t>
                      </a:r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</a:rPr>
                        <a:t> и КД на  оборудование) в области обращения с  РАО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4789488" y="1484313"/>
          <a:ext cx="6215676" cy="5181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15676"/>
              </a:tblGrid>
              <a:tr h="518161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/>
                        <a:t>Разработка  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технологических решений  (в проектах и КД на</a:t>
                      </a:r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</a:rPr>
                        <a:t> оборудование</a:t>
                      </a:r>
                      <a:r>
                        <a:rPr lang="ru-RU" sz="1400" b="1" baseline="0" dirty="0" smtClean="0"/>
                        <a:t>) в области обращения с ОЯТ</a:t>
                      </a:r>
                      <a:endParaRPr lang="ru-RU" sz="1400" b="1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4789488" y="2000250"/>
          <a:ext cx="6149937" cy="4286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49937"/>
              </a:tblGrid>
              <a:tr h="428628">
                <a:tc>
                  <a:txBody>
                    <a:bodyPr/>
                    <a:lstStyle/>
                    <a:p>
                      <a:pPr algn="l"/>
                      <a:r>
                        <a:rPr lang="ru-RU" sz="1400" dirty="0" smtClean="0"/>
                        <a:t>Разработка  частей проектов</a:t>
                      </a:r>
                      <a:r>
                        <a:rPr lang="ru-RU" sz="1400" baseline="0" dirty="0" smtClean="0"/>
                        <a:t> ОИАЭ, касающихся вывода из эксплуатации</a:t>
                      </a:r>
                      <a:endParaRPr lang="ru-RU" sz="14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0590217"/>
              </p:ext>
            </p:extLst>
          </p:nvPr>
        </p:nvGraphicFramePr>
        <p:xfrm>
          <a:off x="4794250" y="642938"/>
          <a:ext cx="5143536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43536"/>
              </a:tblGrid>
              <a:tr h="285752">
                <a:tc>
                  <a:txBody>
                    <a:bodyPr/>
                    <a:lstStyle/>
                    <a:p>
                      <a:r>
                        <a:rPr lang="ru-RU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Вариативность программ  под задачи ФЦП</a:t>
                      </a:r>
                      <a:endParaRPr lang="ru-RU" sz="1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Нашивка 10"/>
          <p:cNvSpPr/>
          <p:nvPr/>
        </p:nvSpPr>
        <p:spPr>
          <a:xfrm>
            <a:off x="4151313" y="1357313"/>
            <a:ext cx="485775" cy="484187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150813" y="2786063"/>
          <a:ext cx="4572032" cy="714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2942"/>
                <a:gridCol w="3929090"/>
              </a:tblGrid>
              <a:tr h="714380">
                <a:tc>
                  <a:txBody>
                    <a:bodyPr/>
                    <a:lstStyle/>
                    <a:p>
                      <a:pPr algn="ctr"/>
                      <a:endParaRPr lang="ru-RU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П-7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Разработка обоснования радиационной и ядерной  безопасности ОИАЭ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Нашивка 12"/>
          <p:cNvSpPr/>
          <p:nvPr/>
        </p:nvSpPr>
        <p:spPr>
          <a:xfrm>
            <a:off x="5008563" y="2928938"/>
            <a:ext cx="485775" cy="484187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7537325"/>
              </p:ext>
            </p:extLst>
          </p:nvPr>
        </p:nvGraphicFramePr>
        <p:xfrm>
          <a:off x="5580063" y="2349500"/>
          <a:ext cx="5357850" cy="7604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57850"/>
              </a:tblGrid>
              <a:tr h="455656">
                <a:tc>
                  <a:txBody>
                    <a:bodyPr/>
                    <a:lstStyle/>
                    <a:p>
                      <a:pPr algn="l"/>
                      <a:r>
                        <a:rPr lang="ru-RU" sz="1400" dirty="0" smtClean="0"/>
                        <a:t>Обоснование ЯРБ </a:t>
                      </a:r>
                      <a:r>
                        <a:rPr lang="ru-RU" sz="1400" baseline="0" dirty="0" smtClean="0"/>
                        <a:t>при обращении с РАО </a:t>
                      </a:r>
                      <a:endParaRPr lang="ru-RU" sz="1400" dirty="0"/>
                    </a:p>
                  </a:txBody>
                  <a:tcPr/>
                </a:tc>
              </a:tr>
              <a:tr h="25003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Обоснование ЯРБ </a:t>
                      </a:r>
                      <a:r>
                        <a:rPr lang="ru-RU" sz="1400" b="1" baseline="0" dirty="0" smtClean="0"/>
                        <a:t>при обращении с ОЯТ</a:t>
                      </a:r>
                      <a:endParaRPr lang="ru-RU" sz="1400" b="1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7942241"/>
              </p:ext>
            </p:extLst>
          </p:nvPr>
        </p:nvGraphicFramePr>
        <p:xfrm>
          <a:off x="5580063" y="3068638"/>
          <a:ext cx="5357850" cy="124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57850"/>
              </a:tblGrid>
              <a:tr h="5040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Обоснование ЯРБ</a:t>
                      </a:r>
                      <a:r>
                        <a:rPr lang="ru-RU" sz="1400" baseline="0" dirty="0" smtClean="0"/>
                        <a:t> при выполнении работ по выводу из эксплуатации ОИАЭ и при реабилитации территорий</a:t>
                      </a:r>
                      <a:endParaRPr lang="ru-RU" dirty="0"/>
                    </a:p>
                  </a:txBody>
                  <a:tcPr/>
                </a:tc>
              </a:tr>
              <a:tr h="46434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ка </a:t>
                      </a:r>
                      <a:r>
                        <a:rPr lang="ru-RU" sz="14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проектов </a:t>
                      </a: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 обоснованию безопасности ОИАЭ </a:t>
                      </a:r>
                      <a:r>
                        <a:rPr lang="ru-RU" sz="14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(ПООБ) и вероятностных анализов безопасности (ВАБ), </a:t>
                      </a: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асающихся выводов  </a:t>
                      </a:r>
                      <a:r>
                        <a:rPr lang="ru-RU" sz="14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их</a:t>
                      </a:r>
                      <a:r>
                        <a:rPr lang="ru-RU" sz="14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з эксплуатации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150813" y="4000500"/>
          <a:ext cx="4357718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051"/>
                <a:gridCol w="3702667"/>
              </a:tblGrid>
              <a:tr h="660082">
                <a:tc>
                  <a:txBody>
                    <a:bodyPr/>
                    <a:lstStyle/>
                    <a:p>
                      <a:pPr algn="ctr"/>
                      <a:endParaRPr lang="ru-RU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П-8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Разработка ПОС, сноса и демонтажа зданий и сооружений, продления срока эксплуатации и консервации ОИАЭ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7" name="Таблица 16"/>
          <p:cNvGraphicFramePr>
            <a:graphicFrameLocks noGrp="1"/>
          </p:cNvGraphicFramePr>
          <p:nvPr/>
        </p:nvGraphicFramePr>
        <p:xfrm>
          <a:off x="5221288" y="4365625"/>
          <a:ext cx="5715041" cy="51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15041"/>
              </a:tblGrid>
              <a:tr h="50006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Разработка ПОС при демонтаже (сносе) зданий и сооружений  ОИАЭ,  выводимых из эксплуатации</a:t>
                      </a:r>
                      <a:endParaRPr lang="ru-RU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8" name="Нашивка 17"/>
          <p:cNvSpPr/>
          <p:nvPr/>
        </p:nvSpPr>
        <p:spPr>
          <a:xfrm>
            <a:off x="4651375" y="4143375"/>
            <a:ext cx="485775" cy="484188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  <p:graphicFrame>
        <p:nvGraphicFramePr>
          <p:cNvPr id="19" name="Таблица 18"/>
          <p:cNvGraphicFramePr>
            <a:graphicFrameLocks noGrp="1"/>
          </p:cNvGraphicFramePr>
          <p:nvPr/>
        </p:nvGraphicFramePr>
        <p:xfrm>
          <a:off x="150813" y="5929313"/>
          <a:ext cx="4637200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2942"/>
                <a:gridCol w="3994258"/>
              </a:tblGrid>
              <a:tr h="785818"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</a:rPr>
                        <a:t>С-10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Внедрение СМК при строительстве ОИАЭ. Порядок разработки программы обеспечения качества атомных станций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/>
        </p:nvGraphicFramePr>
        <p:xfrm>
          <a:off x="150813" y="4857750"/>
          <a:ext cx="4643470" cy="94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2942"/>
                <a:gridCol w="4000528"/>
              </a:tblGrid>
              <a:tr h="857256">
                <a:tc>
                  <a:txBody>
                    <a:bodyPr/>
                    <a:lstStyle/>
                    <a:p>
                      <a:pPr algn="ctr"/>
                      <a:endParaRPr lang="ru-RU" sz="1400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endParaRPr lang="ru-RU" sz="1400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С-7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400" dirty="0" smtClean="0">
                          <a:solidFill>
                            <a:schemeClr val="bg1"/>
                          </a:solidFill>
                        </a:rPr>
                        <a:t>Работы по организации строительства, реконструкции, капитального ремонта и осуществлению строительного контроля на ОИАЭ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2" name="Таблица 21"/>
          <p:cNvGraphicFramePr>
            <a:graphicFrameLocks noGrp="1"/>
          </p:cNvGraphicFramePr>
          <p:nvPr/>
        </p:nvGraphicFramePr>
        <p:xfrm>
          <a:off x="5580063" y="6000750"/>
          <a:ext cx="4786346" cy="731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6346"/>
              </a:tblGrid>
              <a:tr h="642942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Разработка программ обеспечения качества на 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завершающий</a:t>
                      </a:r>
                      <a:r>
                        <a:rPr lang="ru-RU" sz="140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ru-RU" sz="1400" dirty="0" smtClean="0"/>
                        <a:t> этап  жизненного цикла ОИЯЭ  «Вывод  из эксплуатации» </a:t>
                      </a:r>
                      <a:endParaRPr lang="ru-RU" sz="14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3" name="Таблица 22"/>
          <p:cNvGraphicFramePr>
            <a:graphicFrameLocks noGrp="1"/>
          </p:cNvGraphicFramePr>
          <p:nvPr/>
        </p:nvGraphicFramePr>
        <p:xfrm>
          <a:off x="5580063" y="5000625"/>
          <a:ext cx="5357850" cy="714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57850"/>
              </a:tblGrid>
              <a:tr h="7143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Организация и технология</a:t>
                      </a:r>
                      <a:r>
                        <a:rPr lang="ru-RU" sz="1400" baseline="0" dirty="0" smtClean="0"/>
                        <a:t> работ по реконструкции и демонтажу строительных конструкций, выводимых из эксплуатации ОИЯЭ</a:t>
                      </a:r>
                      <a:endParaRPr lang="ru-RU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4" name="Нашивка 23"/>
          <p:cNvSpPr/>
          <p:nvPr/>
        </p:nvSpPr>
        <p:spPr>
          <a:xfrm>
            <a:off x="4937125" y="5072063"/>
            <a:ext cx="485775" cy="484187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25" name="Нашивка 24"/>
          <p:cNvSpPr/>
          <p:nvPr/>
        </p:nvSpPr>
        <p:spPr>
          <a:xfrm>
            <a:off x="4937125" y="6072188"/>
            <a:ext cx="485775" cy="484187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7" name="Заголовок 1"/>
          <p:cNvSpPr>
            <a:spLocks noGrp="1"/>
          </p:cNvSpPr>
          <p:nvPr>
            <p:ph type="title"/>
          </p:nvPr>
        </p:nvSpPr>
        <p:spPr>
          <a:xfrm>
            <a:off x="912813" y="117475"/>
            <a:ext cx="8988425" cy="885825"/>
          </a:xfrm>
        </p:spPr>
        <p:txBody>
          <a:bodyPr/>
          <a:lstStyle/>
          <a:p>
            <a:r>
              <a:rPr lang="ru-RU" sz="2000" smtClean="0">
                <a:latin typeface="Times New Roman" pitchFamily="18" charset="0"/>
                <a:cs typeface="Times New Roman" pitchFamily="18" charset="0"/>
              </a:rPr>
              <a:t>Предложения по разработке новых программ ДПО по тематике «Ядерная и радиационная безопасность»</a:t>
            </a:r>
            <a:r>
              <a:rPr lang="ru-RU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mtClean="0">
                <a:latin typeface="Times New Roman" pitchFamily="18" charset="0"/>
                <a:cs typeface="Times New Roman" pitchFamily="18" charset="0"/>
              </a:rPr>
            </a:br>
            <a:endParaRPr lang="ru-RU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6018" name="Номер слайда 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6DE265A9-576C-4364-A9D4-E907466056A3}" type="slidenum">
              <a:rPr lang="ru-RU">
                <a:solidFill>
                  <a:srgbClr val="FFFFFF"/>
                </a:solidFill>
              </a:rPr>
              <a:pPr/>
              <a:t>6</a:t>
            </a:fld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50813" y="928688"/>
          <a:ext cx="10715699" cy="57150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010"/>
                <a:gridCol w="4805074"/>
                <a:gridCol w="5327615"/>
              </a:tblGrid>
              <a:tr h="47705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latin typeface="Times New Roman"/>
                          <a:ea typeface="Calibri"/>
                          <a:cs typeface="Times New Roman"/>
                        </a:rPr>
                        <a:t>№№</a:t>
                      </a:r>
                      <a:endParaRPr lang="ru-RU" sz="1500" dirty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err="1">
                          <a:latin typeface="Times New Roman"/>
                          <a:ea typeface="Calibri"/>
                          <a:cs typeface="Times New Roman"/>
                        </a:rPr>
                        <a:t>п</a:t>
                      </a:r>
                      <a:r>
                        <a:rPr lang="ru-RU" sz="1500" dirty="0">
                          <a:latin typeface="Times New Roman"/>
                          <a:ea typeface="Calibri"/>
                          <a:cs typeface="Times New Roman"/>
                        </a:rPr>
                        <a:t>/</a:t>
                      </a:r>
                      <a:r>
                        <a:rPr lang="ru-RU" sz="1500" dirty="0" err="1">
                          <a:latin typeface="Times New Roman"/>
                          <a:ea typeface="Calibri"/>
                          <a:cs typeface="Times New Roman"/>
                        </a:rPr>
                        <a:t>п</a:t>
                      </a:r>
                      <a:endParaRPr lang="ru-RU" sz="15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latin typeface="Times New Roman"/>
                          <a:ea typeface="Calibri"/>
                          <a:cs typeface="Times New Roman"/>
                        </a:rPr>
                        <a:t>Наименование предлагаемых программ</a:t>
                      </a:r>
                      <a:endParaRPr lang="ru-RU" sz="15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latin typeface="Times New Roman"/>
                          <a:ea typeface="Calibri"/>
                          <a:cs typeface="Times New Roman"/>
                        </a:rPr>
                        <a:t>Категория персонала (слушатели курсов)</a:t>
                      </a:r>
                      <a:endParaRPr lang="ru-RU" sz="15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1417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bg2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. Отработавшее ядерное топливо (ОЯТ)</a:t>
                      </a:r>
                      <a:endParaRPr lang="ru-RU" sz="1600" dirty="0">
                        <a:solidFill>
                          <a:schemeClr val="bg2"/>
                        </a:solidFill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5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638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 smtClean="0">
                          <a:latin typeface="Times New Roman"/>
                          <a:ea typeface="Calibri"/>
                          <a:cs typeface="Times New Roman"/>
                        </a:rPr>
                        <a:t>1.1</a:t>
                      </a:r>
                      <a:endParaRPr lang="ru-RU" sz="15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latin typeface="Times New Roman"/>
                          <a:ea typeface="Calibri"/>
                          <a:cs typeface="Times New Roman"/>
                        </a:rPr>
                        <a:t>Стратегия  обращения  с ОЯТ</a:t>
                      </a:r>
                      <a:endParaRPr lang="ru-RU" sz="15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уководители и специалисты НИИ, КБ, проектных и инжиниринговых компаний, эксплуатирующих организаций атомной отрасли,  деятельность которых связанна с решением   проблемы ОЯТ.</a:t>
                      </a:r>
                      <a:endParaRPr lang="ru-RU" sz="1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6266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 smtClean="0">
                          <a:latin typeface="Times New Roman"/>
                          <a:ea typeface="Calibri"/>
                          <a:cs typeface="Times New Roman"/>
                        </a:rPr>
                        <a:t>1.2</a:t>
                      </a:r>
                      <a:endParaRPr lang="ru-RU" sz="15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latin typeface="Times New Roman"/>
                          <a:ea typeface="Calibri"/>
                          <a:cs typeface="Times New Roman"/>
                        </a:rPr>
                        <a:t>Хранение, транспортирование и  переработка ОЯТ</a:t>
                      </a:r>
                      <a:endParaRPr lang="ru-RU" sz="15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81417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bg2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. Радиоактивные отходы (РАО)</a:t>
                      </a:r>
                      <a:endParaRPr lang="ru-RU" sz="1600" b="1" dirty="0">
                        <a:solidFill>
                          <a:schemeClr val="bg2"/>
                        </a:solidFill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5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89050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 smtClean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.1</a:t>
                      </a:r>
                      <a:endParaRPr lang="ru-RU" sz="1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тратегия обращения с радиоактивными отходами, образующимися при эксплуатации ОИАЭ </a:t>
                      </a:r>
                      <a:endParaRPr lang="ru-RU" sz="1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уководители и специалисты НИИ, КБ, проектных и инжиниринговых компаний, эксплуатирующих организаций атомной отрасли,  деятельность которых связанна с решением   проблемы РАО</a:t>
                      </a:r>
                      <a:endParaRPr lang="ru-RU" sz="1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11313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 smtClean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.2</a:t>
                      </a:r>
                      <a:endParaRPr lang="ru-RU" sz="1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Хранение, транспортирование и  переработка РАО</a:t>
                      </a:r>
                      <a:endParaRPr lang="ru-RU" sz="1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</a:t>
                      </a: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циалисты НИИ, КБ, проектных и инжиниринговых компаний, эксплуатирующих организаций атомной отрасли,  деятельность которых связанна с созданием и функционированием  в РФ объектов по хранению и транспортированию </a:t>
                      </a:r>
                      <a:r>
                        <a:rPr lang="en-US" sz="14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О </a:t>
                      </a:r>
                      <a:endParaRPr lang="ru-RU" sz="1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89050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 smtClean="0">
                          <a:latin typeface="Times New Roman"/>
                          <a:ea typeface="Calibri"/>
                          <a:cs typeface="Times New Roman"/>
                        </a:rPr>
                        <a:t>2.3</a:t>
                      </a:r>
                      <a:endParaRPr lang="ru-RU" sz="15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latin typeface="Times New Roman"/>
                          <a:ea typeface="Calibri"/>
                          <a:cs typeface="Times New Roman"/>
                        </a:rPr>
                        <a:t>Национальная система окончательной изоляции высокоактивных отходов</a:t>
                      </a:r>
                      <a:endParaRPr lang="ru-RU" sz="15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уководители и специалисты НИИ, КБ, проектных и инжиниринговых компаний, эксплуатирующих организаций атомной отрасли,  деятельность которых связанна с </a:t>
                      </a:r>
                      <a:r>
                        <a:rPr lang="ru-RU" sz="1400" b="1" dirty="0" smtClean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созданием и эксплуатацией объектов данной системы</a:t>
                      </a:r>
                      <a:endParaRPr lang="ru-RU" sz="1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89050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 smtClean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.4</a:t>
                      </a:r>
                      <a:endParaRPr lang="ru-RU" sz="1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истема обращения с РАО, образующимися при выводе из эксплуатации  АЭС</a:t>
                      </a:r>
                      <a:endParaRPr lang="ru-RU" sz="1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уководители и специалисты НИИ, КБ, проектных и инжиниринговых компаний, эксплуатирующих организаций атомной отрасли,  деятельность которых связанна с созданием и эксплуатацией объектов данной системы</a:t>
                      </a:r>
                      <a:endParaRPr lang="ru-RU" sz="1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86062" name="Группа 11"/>
          <p:cNvGrpSpPr>
            <a:grpSpLocks/>
          </p:cNvGrpSpPr>
          <p:nvPr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6" name="Овал 5"/>
            <p:cNvSpPr>
              <a:spLocks noChangeAspect="1"/>
            </p:cNvSpPr>
            <p:nvPr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86064" name="Picture 4" descr="LOGO_SAS7_small"/>
            <p:cNvPicPr>
              <a:picLocks noChangeAspect="1" noChangeArrowheads="1"/>
            </p:cNvPicPr>
            <p:nvPr/>
          </p:nvPicPr>
          <p:blipFill>
            <a:blip r:embed="rId2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Номер слайда 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0E06EBDE-6340-41AF-B5BD-1A2A440F3D65}" type="slidenum">
              <a:rPr lang="ru-RU">
                <a:solidFill>
                  <a:srgbClr val="FFFFFF"/>
                </a:solidFill>
              </a:rPr>
              <a:pPr/>
              <a:t>7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87042" name="Заголовок 1"/>
          <p:cNvSpPr>
            <a:spLocks noGrp="1"/>
          </p:cNvSpPr>
          <p:nvPr>
            <p:ph type="title"/>
          </p:nvPr>
        </p:nvSpPr>
        <p:spPr>
          <a:xfrm>
            <a:off x="912813" y="117475"/>
            <a:ext cx="8988425" cy="885825"/>
          </a:xfrm>
        </p:spPr>
        <p:txBody>
          <a:bodyPr/>
          <a:lstStyle/>
          <a:p>
            <a:r>
              <a:rPr lang="ru-RU" sz="2000" smtClean="0">
                <a:latin typeface="Times New Roman" pitchFamily="18" charset="0"/>
                <a:cs typeface="Times New Roman" pitchFamily="18" charset="0"/>
              </a:rPr>
              <a:t>Предложения по разработке новых программ ДПО по тематике «Ядерная и радиационная безопасность» (продолжение)</a:t>
            </a:r>
            <a:r>
              <a:rPr lang="ru-RU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mtClean="0">
                <a:latin typeface="Times New Roman" pitchFamily="18" charset="0"/>
                <a:cs typeface="Times New Roman" pitchFamily="18" charset="0"/>
              </a:rPr>
            </a:br>
            <a:endParaRPr lang="ru-RU" smtClean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22250" y="642938"/>
          <a:ext cx="10644263" cy="5907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9123"/>
                <a:gridCol w="4773041"/>
                <a:gridCol w="5292099"/>
              </a:tblGrid>
              <a:tr h="551971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№№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err="1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</a:t>
                      </a:r>
                      <a:r>
                        <a:rPr lang="ru-RU" sz="1500" dirty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/</a:t>
                      </a:r>
                      <a:r>
                        <a:rPr lang="ru-RU" sz="1500" dirty="0" err="1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</a:t>
                      </a:r>
                      <a:endParaRPr lang="ru-RU" sz="1500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latin typeface="Times New Roman"/>
                          <a:ea typeface="Calibri"/>
                          <a:cs typeface="Times New Roman"/>
                        </a:rPr>
                        <a:t>Наименование предлагаемых программ</a:t>
                      </a:r>
                      <a:endParaRPr lang="ru-RU" sz="15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latin typeface="Times New Roman"/>
                          <a:ea typeface="Calibri"/>
                          <a:cs typeface="Times New Roman"/>
                        </a:rPr>
                        <a:t>Категория персонала (слушатели курсов)</a:t>
                      </a:r>
                      <a:endParaRPr lang="ru-RU" sz="15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151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latin typeface="Times New Roman"/>
                          <a:ea typeface="Calibri"/>
                          <a:cs typeface="Times New Roman"/>
                        </a:rPr>
                        <a:t>2.5</a:t>
                      </a:r>
                      <a:endParaRPr lang="ru-RU" sz="15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latin typeface="Times New Roman"/>
                          <a:ea typeface="Calibri"/>
                          <a:cs typeface="Times New Roman"/>
                        </a:rPr>
                        <a:t>Обращение с радиоактивными отходами, образующимися при эксплуатации ОИАЭ  (начальный курс для обучающихся по специализированным темам)</a:t>
                      </a:r>
                      <a:endParaRPr lang="ru-RU" sz="15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пециалисты</a:t>
                      </a:r>
                      <a:r>
                        <a:rPr lang="ru-RU" sz="1400" b="1" dirty="0" smtClean="0">
                          <a:latin typeface="Times New Roman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1400" b="1" dirty="0">
                          <a:latin typeface="Times New Roman"/>
                          <a:ea typeface="Calibri"/>
                          <a:cs typeface="Times New Roman"/>
                        </a:rPr>
                        <a:t>НИИ, КБ, проектных и инжиниринговых компаний, эксплуатирующих организаций атомной отрасли,  деятельность которых связанна с решением  данной проблемы</a:t>
                      </a:r>
                      <a:endParaRPr lang="ru-RU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151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 smtClean="0">
                          <a:latin typeface="Times New Roman"/>
                          <a:ea typeface="Calibri"/>
                          <a:cs typeface="Times New Roman"/>
                        </a:rPr>
                        <a:t>2.6</a:t>
                      </a:r>
                      <a:endParaRPr lang="ru-RU" sz="15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latin typeface="Times New Roman"/>
                          <a:ea typeface="Calibri"/>
                          <a:cs typeface="Times New Roman"/>
                        </a:rPr>
                        <a:t>Лучшие практики организации работ по обращению с РАО в России и за рубежом</a:t>
                      </a:r>
                      <a:endParaRPr lang="ru-RU" sz="15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Calibri"/>
                          <a:cs typeface="Times New Roman"/>
                        </a:rPr>
                        <a:t>Руководители и специалисты  предприятий Госкорпорации «Росатом»</a:t>
                      </a:r>
                      <a:endParaRPr lang="ru-RU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19993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kern="1200" dirty="0" smtClean="0">
                          <a:solidFill>
                            <a:schemeClr val="dk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2.7</a:t>
                      </a:r>
                      <a:endParaRPr lang="ru-RU" sz="1500" b="1" kern="1200" dirty="0">
                        <a:solidFill>
                          <a:schemeClr val="dk1"/>
                        </a:solidFill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 smtClean="0">
                          <a:latin typeface="Times New Roman"/>
                          <a:ea typeface="Calibri"/>
                          <a:cs typeface="Times New Roman"/>
                        </a:rPr>
                        <a:t>Классификация РАО, образующихся на промышленных  предприятиях, в НИИ и КБ атомной отрасли России при эксплуатации ОИАЭ (начальный курс для обучающихся по специализированным темам)</a:t>
                      </a:r>
                      <a:endParaRPr lang="ru-RU" sz="15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пециалисты  </a:t>
                      </a:r>
                      <a:r>
                        <a:rPr lang="ru-RU" sz="1400" b="1" dirty="0">
                          <a:latin typeface="Times New Roman"/>
                          <a:ea typeface="Calibri"/>
                          <a:cs typeface="Times New Roman"/>
                        </a:rPr>
                        <a:t>предприятий Госкорпорации «Росатом»</a:t>
                      </a:r>
                      <a:endParaRPr lang="ru-RU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94385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bg2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. Ликвидация угрозы распространения радиоактивности</a:t>
                      </a:r>
                      <a:endParaRPr lang="ru-RU" sz="1600" b="1" dirty="0">
                        <a:solidFill>
                          <a:schemeClr val="bg2"/>
                        </a:solidFill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5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9401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 smtClean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.1</a:t>
                      </a:r>
                      <a:endParaRPr lang="ru-RU" sz="1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latin typeface="Times New Roman"/>
                          <a:ea typeface="Calibri"/>
                          <a:cs typeface="Times New Roman"/>
                        </a:rPr>
                        <a:t>Ликвидация последствий радиационных аварий </a:t>
                      </a:r>
                      <a:endParaRPr lang="ru-RU" sz="15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уководители и специалисты НИИ, КБ, проектных и инжиниринговых компаний, эксплуатирующих организаций атомной отрасли,  принимавших (ющих) участие в работах по ликвидации последствий радиационных аварий,</a:t>
                      </a:r>
                      <a:r>
                        <a:rPr lang="ru-RU" sz="1400" b="1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к</a:t>
                      </a: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нсервации пунктов хранения РАО и реабилитации загрязненных радиоактивностью территорий</a:t>
                      </a:r>
                      <a:endParaRPr lang="ru-RU" sz="1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1515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 smtClean="0"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.2</a:t>
                      </a:r>
                      <a:endParaRPr lang="ru-RU" sz="15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>
                          <a:latin typeface="Times New Roman"/>
                          <a:ea typeface="Calibri"/>
                          <a:cs typeface="Times New Roman"/>
                        </a:rPr>
                        <a:t>Консервация пунктов хранения РАО и реабилитация загрязненных радиоактивностью </a:t>
                      </a:r>
                      <a:r>
                        <a:rPr lang="ru-RU" sz="1500" b="1" dirty="0" smtClean="0">
                          <a:latin typeface="Times New Roman"/>
                          <a:ea typeface="Calibri"/>
                          <a:cs typeface="Times New Roman"/>
                        </a:rPr>
                        <a:t>территорий</a:t>
                      </a:r>
                      <a:endParaRPr lang="ru-RU" sz="15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</a:t>
                      </a: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циалисты НИИ, проектных и инжиниринговых компаний, эксплуатирующих организаций атомной отрасли,  деятельность которых связанна с консервацией  пунктов хранения РАО и реабилитацией загрязненных радиоактивностью территорий</a:t>
                      </a:r>
                      <a:endParaRPr lang="ru-RU" sz="14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87077" name="Группа 11"/>
          <p:cNvGrpSpPr>
            <a:grpSpLocks/>
          </p:cNvGrpSpPr>
          <p:nvPr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7" name="Овал 6"/>
            <p:cNvSpPr>
              <a:spLocks noChangeAspect="1"/>
            </p:cNvSpPr>
            <p:nvPr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87079" name="Picture 4" descr="LOGO_SAS7_small"/>
            <p:cNvPicPr>
              <a:picLocks noChangeAspect="1" noChangeArrowheads="1"/>
            </p:cNvPicPr>
            <p:nvPr/>
          </p:nvPicPr>
          <p:blipFill>
            <a:blip r:embed="rId2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5" name="Номер слайда 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EFB514D-6243-4BAB-A07C-17620459046C}" type="slidenum">
              <a:rPr lang="ru-RU">
                <a:solidFill>
                  <a:srgbClr val="FFFFFF"/>
                </a:solidFill>
              </a:rPr>
              <a:pPr/>
              <a:t>8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912813" y="117475"/>
            <a:ext cx="8988425" cy="885825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едложения по разработке новых программ ДПО по тематике «Ядерная и радиационная безопасность» (продолжение)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grpSp>
        <p:nvGrpSpPr>
          <p:cNvPr id="88067" name="Группа 11"/>
          <p:cNvGrpSpPr>
            <a:grpSpLocks/>
          </p:cNvGrpSpPr>
          <p:nvPr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7" name="Овал 6"/>
            <p:cNvSpPr>
              <a:spLocks noChangeAspect="1"/>
            </p:cNvSpPr>
            <p:nvPr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88099" name="Picture 4" descr="LOGO_SAS7_small"/>
            <p:cNvPicPr>
              <a:picLocks noChangeAspect="1" noChangeArrowheads="1"/>
            </p:cNvPicPr>
            <p:nvPr/>
          </p:nvPicPr>
          <p:blipFill>
            <a:blip r:embed="rId2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aphicFrame>
        <p:nvGraphicFramePr>
          <p:cNvPr id="88101" name="Group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2868007"/>
              </p:ext>
            </p:extLst>
          </p:nvPr>
        </p:nvGraphicFramePr>
        <p:xfrm>
          <a:off x="293688" y="642938"/>
          <a:ext cx="10502900" cy="6126481"/>
        </p:xfrm>
        <a:graphic>
          <a:graphicData uri="http://schemas.openxmlformats.org/drawingml/2006/table">
            <a:tbl>
              <a:tblPr/>
              <a:tblGrid>
                <a:gridCol w="642937"/>
                <a:gridCol w="2071688"/>
                <a:gridCol w="5716587"/>
                <a:gridCol w="2071688"/>
              </a:tblGrid>
              <a:tr h="6778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№№</a:t>
                      </a: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/п</a:t>
                      </a: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Наименование предлагаемых программ</a:t>
                      </a: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Основные темы курсов</a:t>
                      </a: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Категория персонала (слушатели курсов)</a:t>
                      </a: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34963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 Вывод из эксплуатации ОИАЭ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082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.1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ратегия вывода из эксплуатации объектов использования атомной энергии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собенности принятых национальных концепций вывода из эксплуатации: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; энергоблоков АЭС; предприятий по конверсии урана, разделению изотопов урана и производству ядерного топлива; радиохимических заводов и установок; исследовательских реакторов, стендов и лабораторий атомной энергетики и промышленности.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«Дорожная карта» объектов,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здаваемых для  вывода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 эксплуатации ОИАЭ  в период до 2030 года (пунктов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хранения и переработки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О от ВЭ и др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опросы финансирования работ данного направления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ководители и специалисты НИИ, КБ, проектных и инжиниринговых компаний, эксплуатирующих организаций атомной отрасли,  деятельность которых связанна с созданием и эксплуатацией объектов данной системы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12652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.2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вод из эксплуатации промышленных 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еакторов </a:t>
                      </a: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вод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 эксплуатации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.   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мплексных инженерно-радиационных обследований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     Технологические и технические решения проектов по ВЭ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Организация работ по ВЭ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.    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опросы финансирования работ данного направления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859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.3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вод из эксплуатации энергоблоков АЭС, выработавших ресурс </a:t>
                      </a: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стояние подлежащих выводу из эксплуатации э/б АЭС  (Белоярская,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ововоронежская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, Кольская,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илибинская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и Ленинградская АЭС).  Требуемый перечень и этапы разработки  проектной документации по ВЭ АЭС.    Основные технологические и технические решения проектов по ВЭ АЭС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ечень нового технологического оборудования, необходимого в производстве работ.     Вопросы финансирования работ данного направления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89" name="Номер слайда 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7F935B67-A874-486E-B7BB-14F9348D47AF}" type="slidenum">
              <a:rPr lang="ru-RU">
                <a:solidFill>
                  <a:srgbClr val="FFFFFF"/>
                </a:solidFill>
              </a:rPr>
              <a:pPr/>
              <a:t>9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89090" name="Заголовок 1"/>
          <p:cNvSpPr>
            <a:spLocks noGrp="1"/>
          </p:cNvSpPr>
          <p:nvPr>
            <p:ph type="title"/>
          </p:nvPr>
        </p:nvSpPr>
        <p:spPr>
          <a:xfrm>
            <a:off x="912813" y="117475"/>
            <a:ext cx="8988425" cy="885825"/>
          </a:xfrm>
        </p:spPr>
        <p:txBody>
          <a:bodyPr/>
          <a:lstStyle/>
          <a:p>
            <a:r>
              <a:rPr lang="ru-RU" sz="2000" smtClean="0">
                <a:latin typeface="Times New Roman" pitchFamily="18" charset="0"/>
                <a:cs typeface="Times New Roman" pitchFamily="18" charset="0"/>
              </a:rPr>
              <a:t>Предложения по разработке новых программ ДПО по тематике «Ядерная и радиационная безопасность» (продолжение)</a:t>
            </a:r>
            <a:r>
              <a:rPr lang="ru-RU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mtClean="0">
                <a:latin typeface="Times New Roman" pitchFamily="18" charset="0"/>
                <a:cs typeface="Times New Roman" pitchFamily="18" charset="0"/>
              </a:rPr>
            </a:br>
            <a:endParaRPr lang="ru-RU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89091" name="Группа 11"/>
          <p:cNvGrpSpPr>
            <a:grpSpLocks/>
          </p:cNvGrpSpPr>
          <p:nvPr/>
        </p:nvGrpSpPr>
        <p:grpSpPr bwMode="auto">
          <a:xfrm>
            <a:off x="10182225" y="107950"/>
            <a:ext cx="885825" cy="863600"/>
            <a:chOff x="10181607" y="107285"/>
            <a:chExt cx="886204" cy="864000"/>
          </a:xfrm>
        </p:grpSpPr>
        <p:sp>
          <p:nvSpPr>
            <p:cNvPr id="7" name="Овал 6"/>
            <p:cNvSpPr>
              <a:spLocks noChangeAspect="1"/>
            </p:cNvSpPr>
            <p:nvPr/>
          </p:nvSpPr>
          <p:spPr>
            <a:xfrm>
              <a:off x="10181607" y="107285"/>
              <a:ext cx="841735" cy="841765"/>
            </a:xfrm>
            <a:prstGeom prst="ellipse">
              <a:avLst/>
            </a:prstGeom>
            <a:solidFill>
              <a:schemeClr val="tx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>
                <a:solidFill>
                  <a:prstClr val="white"/>
                </a:solidFill>
              </a:endParaRPr>
            </a:p>
          </p:txBody>
        </p:sp>
        <p:pic>
          <p:nvPicPr>
            <p:cNvPr id="89119" name="Picture 4" descr="LOGO_SAS7_small"/>
            <p:cNvPicPr>
              <a:picLocks noChangeAspect="1" noChangeArrowheads="1"/>
            </p:cNvPicPr>
            <p:nvPr/>
          </p:nvPicPr>
          <p:blipFill>
            <a:blip r:embed="rId2">
              <a:lum bright="10000" contrast="-6000"/>
            </a:blip>
            <a:srcRect/>
            <a:stretch>
              <a:fillRect/>
            </a:stretch>
          </p:blipFill>
          <p:spPr bwMode="auto">
            <a:xfrm>
              <a:off x="10189385" y="107285"/>
              <a:ext cx="878426" cy="86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7933159"/>
              </p:ext>
            </p:extLst>
          </p:nvPr>
        </p:nvGraphicFramePr>
        <p:xfrm>
          <a:off x="293688" y="928688"/>
          <a:ext cx="10502900" cy="4927601"/>
        </p:xfrm>
        <a:graphic>
          <a:graphicData uri="http://schemas.openxmlformats.org/drawingml/2006/table">
            <a:tbl>
              <a:tblPr/>
              <a:tblGrid>
                <a:gridCol w="598487"/>
                <a:gridCol w="1901825"/>
                <a:gridCol w="5859463"/>
                <a:gridCol w="2143125"/>
              </a:tblGrid>
              <a:tr h="7286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№№</a:t>
                      </a: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/п</a:t>
                      </a: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Наименование предлагаемых программ</a:t>
                      </a: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Основные темы курсов</a:t>
                      </a: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Категория персонала (слушатели курсов)</a:t>
                      </a: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98463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 Вывод из эксплуатации ОИАЭ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256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.4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вод из эксплуатации объектов ЯТЦ</a:t>
                      </a: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ечень и состояние подлежащих выводу из эксплуатации объектов ЯТЦ в период до 2030 года.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ормативные требования к проектам ВЭ объектов ЯТЦ.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сновные технологические и технические решения  разработанных проектов. Перечень нового технологического оборудования, необходимого в производстве работ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опросы финансирования работ данного направления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ководители                              и специалисты НИИ, КБ, проектных                                         и инжиниринговых компаний, эксплуатирующих организаций атомной отрасли,  деятельность которых связанна                    с  созданием и эксплуатацией объектов данной системы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1974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.5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истема обращения с РАО, образующимися при выводе из эксплуатации  ОИАЭ</a:t>
                      </a: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лассификация и объемы РАО, образующихся при выводе из эксплуатации ОИАЭ.      «Дорожная карта» строительства новых объектов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дземной изоляции  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О данной категории.   Специфика трудовых процессов, нормы и условия труда на ОИАЭ при обращении с РАО,  образующимися при выводе из эксплуатации  данных объектов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741</TotalTime>
  <Words>2520</Words>
  <Application>Microsoft Office PowerPoint</Application>
  <PresentationFormat>Произвольный</PresentationFormat>
  <Paragraphs>364</Paragraphs>
  <Slides>16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1" baseType="lpstr">
      <vt:lpstr>Тема Office</vt:lpstr>
      <vt:lpstr>1_b-default</vt:lpstr>
      <vt:lpstr>8_b-default</vt:lpstr>
      <vt:lpstr>2_b-default</vt:lpstr>
      <vt:lpstr>think-cell Slide</vt:lpstr>
      <vt:lpstr>Вопрос 3. «О развитии образовательного проекта СРО атомной отрасли в рамках обеспечения реализации ФЦП «Обеспечение ядерной и радиационной безопасности на 2016-2020 годы и на период до 2030 года»  </vt:lpstr>
      <vt:lpstr>Перечень программ ДПО ( повышение квалификации), реализуемых в рамках Образовательного проекта СРО атомной отрасли по направлению «Ядерная и радиационная безопасность» по состоянию на 01.07.2016 г.</vt:lpstr>
      <vt:lpstr>Презентация PowerPoint</vt:lpstr>
      <vt:lpstr> </vt:lpstr>
      <vt:lpstr>Адаптация программ ДПО (повышение квалификации) под задачи ФЦП</vt:lpstr>
      <vt:lpstr>Предложения по разработке новых программ ДПО по тематике «Ядерная и радиационная безопасность» </vt:lpstr>
      <vt:lpstr>Предложения по разработке новых программ ДПО по тематике «Ядерная и радиационная безопасность» (продолжение) </vt:lpstr>
      <vt:lpstr>Предложения по разработке новых программ ДПО по тематике «Ядерная и радиационная безопасность» (продолжение) </vt:lpstr>
      <vt:lpstr>Предложения по разработке новых программ ДПО по тематике «Ядерная и радиационная безопасность» (продолжение) </vt:lpstr>
      <vt:lpstr>Предложения по разработке новых программ ДПО по тематике                       «Ядерная и радиационная безопасность» (продолжение) </vt:lpstr>
      <vt:lpstr>Порядок организации системы подготовки, повышения и поддержания квалификационного уровня персонала по направлению ЯРБ</vt:lpstr>
      <vt:lpstr>Участники реализации образовательного проекта по тематике ЯРБ</vt:lpstr>
      <vt:lpstr>Предложение  по перечню профессий  (изыскания и проектирование) со специальной компетенцией для сооружения ОИАЭ, в т.ч. требующих разработки профессиональных стандартов </vt:lpstr>
      <vt:lpstr>Перечень профессий  (строительство) со специальной компетенцией для сооружения ОИАЭ,  в т.ч. требующих разработки профессиональных стандартов. </vt:lpstr>
      <vt:lpstr>Презентация PowerPoint</vt:lpstr>
      <vt:lpstr>СПАСИБО  ЗА  ВНИМАНИЕ</vt:lpstr>
    </vt:vector>
  </TitlesOfParts>
  <Company>Ya Blondinko Edi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енообразование при сооружении ОИАЭ</dc:title>
  <dc:creator>Vladimir A. Denisov</dc:creator>
  <cp:lastModifiedBy>Елена</cp:lastModifiedBy>
  <cp:revision>1937</cp:revision>
  <cp:lastPrinted>2016-07-14T18:57:07Z</cp:lastPrinted>
  <dcterms:created xsi:type="dcterms:W3CDTF">2013-03-22T06:56:04Z</dcterms:created>
  <dcterms:modified xsi:type="dcterms:W3CDTF">2016-07-26T08:54:39Z</dcterms:modified>
</cp:coreProperties>
</file>